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77" r:id="rId6"/>
    <p:sldMasterId id="2147483704" r:id="rId7"/>
  </p:sldMasterIdLst>
  <p:notesMasterIdLst>
    <p:notesMasterId r:id="rId11"/>
  </p:notesMasterIdLst>
  <p:handoutMasterIdLst>
    <p:handoutMasterId r:id="rId12"/>
  </p:handoutMasterIdLst>
  <p:sldIdLst>
    <p:sldId id="2970" r:id="rId8"/>
    <p:sldId id="2972" r:id="rId9"/>
    <p:sldId id="2973" r:id="rId10"/>
  </p:sldIdLst>
  <p:sldSz cx="9144000" cy="6858000" type="screen4x3"/>
  <p:notesSz cx="6797675" cy="9926638"/>
  <p:embeddedFontLst>
    <p:embeddedFont>
      <p:font typeface="SBB Light" pitchFamily="2" charset="0"/>
      <p:regular r:id="rId13"/>
    </p:embeddedFont>
    <p:embeddedFont>
      <p:font typeface="Wingdings 3" panose="05040102010807070707" pitchFamily="18" charset="2"/>
      <p:regular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36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orient="horz" pos="1043">
          <p15:clr>
            <a:srgbClr val="A4A3A4"/>
          </p15:clr>
        </p15:guide>
        <p15:guide id="6" orient="horz" pos="4110">
          <p15:clr>
            <a:srgbClr val="A4A3A4"/>
          </p15:clr>
        </p15:guide>
        <p15:guide id="7" pos="476">
          <p15:clr>
            <a:srgbClr val="A4A3A4"/>
          </p15:clr>
        </p15:guide>
        <p15:guide id="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rchi Fritz (KOM-P)" initials="SF(" lastIdx="2" clrIdx="0">
    <p:extLst>
      <p:ext uri="{19B8F6BF-5375-455C-9EA6-DF929625EA0E}">
        <p15:presenceInfo xmlns:p15="http://schemas.microsoft.com/office/powerpoint/2012/main" userId="S-1-5-21-301992139-443025867-1373009395-47206" providerId="AD"/>
      </p:ext>
    </p:extLst>
  </p:cmAuthor>
  <p:cmAuthor id="2" name="Gerber Carole (KOM-IGK)" initials="G(" lastIdx="1" clrIdx="1">
    <p:extLst>
      <p:ext uri="{19B8F6BF-5375-455C-9EA6-DF929625EA0E}">
        <p15:presenceInfo xmlns:p15="http://schemas.microsoft.com/office/powerpoint/2012/main" userId="S::carole.gerber@sbb.ch::b0119dc6-923c-4b7a-9491-7ebe95b2db9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2D327D"/>
    <a:srgbClr val="379F66"/>
    <a:srgbClr val="E20000"/>
    <a:srgbClr val="FA0000"/>
    <a:srgbClr val="DE0000"/>
    <a:srgbClr val="FFCC66"/>
    <a:srgbClr val="DF7F1F"/>
    <a:srgbClr val="CCCC00"/>
    <a:srgbClr val="D7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6100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2454" y="102"/>
      </p:cViewPr>
      <p:guideLst>
        <p:guide orient="horz" pos="2160"/>
        <p:guide pos="2880"/>
        <p:guide orient="horz" pos="436"/>
        <p:guide orient="horz" pos="935"/>
        <p:guide orient="horz" pos="1043"/>
        <p:guide orient="horz" pos="4110"/>
        <p:guide pos="476"/>
        <p:guide pos="555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1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2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" Type="http://schemas.openxmlformats.org/officeDocument/2006/relationships/customXml" Target="../customXml/item2.xml"/><Relationship Id="rId16" Type="http://schemas.openxmlformats.org/officeDocument/2006/relationships/font" Target="fonts/font4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notesMaster" Target="notesMasters/notesMaster1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font" Target="fonts/font3.fntdata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22" Type="http://schemas.openxmlformats.org/officeDocument/2006/relationships/viewProps" Target="viewProps.xml"/><Relationship Id="rId9" Type="http://schemas.openxmlformats.org/officeDocument/2006/relationships/slide" Target="slides/slide2.xml"/><Relationship Id="rId14" Type="http://schemas.openxmlformats.org/officeDocument/2006/relationships/font" Target="fonts/font2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E1B2F0-4A22-47E5-9098-288633BBC04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D4F7164A-9FF1-4F65-82AC-B9F25046820D}">
      <dgm:prSet phldrT="[Text]" custT="1"/>
      <dgm:spPr>
        <a:solidFill>
          <a:srgbClr val="2D327D"/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it-IT" sz="1100" b="1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Committente e gestion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11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Andreas Meyer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11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Toni </a:t>
          </a:r>
          <a:r>
            <a:rPr lang="it-IT" sz="1100" dirty="0" err="1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Häne</a:t>
          </a:r>
          <a:endParaRPr lang="it-IT" sz="1100" dirty="0">
            <a:solidFill>
              <a:schemeClr val="bg1"/>
            </a:solidFill>
            <a:latin typeface="SBB Light"/>
            <a:ea typeface="SBB Light"/>
            <a:cs typeface="SBB Light"/>
            <a:sym typeface="SBB Light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11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Jacques </a:t>
          </a:r>
          <a:r>
            <a:rPr lang="it-IT" sz="1100" dirty="0" err="1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Boschung</a:t>
          </a:r>
          <a:r>
            <a:rPr lang="it-IT" sz="11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 (per la parte Gruppo FFS)</a:t>
          </a:r>
          <a:endParaRPr lang="de-CH" sz="1100" dirty="0">
            <a:latin typeface="SBB Light" pitchFamily="2" charset="0"/>
          </a:endParaRPr>
        </a:p>
      </dgm:t>
    </dgm:pt>
    <dgm:pt modelId="{0D276855-C69D-440E-BF19-9F7FB242F22C}" type="parTrans" cxnId="{38640DC1-0BB3-4058-B08C-6E56D95194D2}">
      <dgm:prSet/>
      <dgm:spPr/>
      <dgm:t>
        <a:bodyPr/>
        <a:lstStyle/>
        <a:p>
          <a:endParaRPr lang="de-CH"/>
        </a:p>
      </dgm:t>
    </dgm:pt>
    <dgm:pt modelId="{962CBA58-A06F-419E-B46B-8102F954B567}" type="sibTrans" cxnId="{38640DC1-0BB3-4058-B08C-6E56D95194D2}">
      <dgm:prSet/>
      <dgm:spPr/>
      <dgm:t>
        <a:bodyPr/>
        <a:lstStyle/>
        <a:p>
          <a:endParaRPr lang="de-CH"/>
        </a:p>
      </dgm:t>
    </dgm:pt>
    <dgm:pt modelId="{B38FC32D-7CC4-43AF-9124-DCFA0F4DF293}" type="asst">
      <dgm:prSet phldrT="[Text]" custT="1"/>
      <dgm:spPr>
        <a:solidFill>
          <a:schemeClr val="accent1"/>
        </a:solidFill>
      </dgm:spPr>
      <dgm:t>
        <a:bodyPr/>
        <a:lstStyle/>
        <a:p>
          <a:r>
            <a:rPr lang="it-IT" sz="1000" b="1" cap="none">
              <a:latin typeface="SBB Light"/>
              <a:ea typeface="SBB Light"/>
              <a:cs typeface="SBB Light"/>
              <a:sym typeface="SBB Light"/>
            </a:rPr>
            <a:t>Colloqui al vertice con le parti sociali</a:t>
          </a:r>
        </a:p>
        <a:p>
          <a:r>
            <a:rPr lang="it-IT" sz="1000" b="0" cap="none">
              <a:latin typeface="SBB Light"/>
              <a:ea typeface="SBB Light"/>
              <a:cs typeface="SBB Light"/>
              <a:sym typeface="SBB Light"/>
            </a:rPr>
            <a:t>Seraina Lang (P-HR-FU)</a:t>
          </a:r>
        </a:p>
      </dgm:t>
    </dgm:pt>
    <dgm:pt modelId="{453A13CE-3AA3-4C9F-B7F7-90265CCFDBB3}" type="parTrans" cxnId="{EBD21DF8-3920-4FAC-94AA-BB760C48F3FF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A9A79CB1-BD10-4FC9-B4A5-33466D736D5B}" type="sibTrans" cxnId="{EBD21DF8-3920-4FAC-94AA-BB760C48F3FF}">
      <dgm:prSet/>
      <dgm:spPr/>
      <dgm:t>
        <a:bodyPr/>
        <a:lstStyle/>
        <a:p>
          <a:endParaRPr lang="de-CH"/>
        </a:p>
      </dgm:t>
    </dgm:pt>
    <dgm:pt modelId="{C1EB3BC5-9EF0-40E7-B0C0-578998897A07}">
      <dgm:prSet phldrT="[Text]" custT="1"/>
      <dgm:spPr>
        <a:solidFill>
          <a:srgbClr val="2D327D"/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kumimoji="0" lang="it-IT" sz="1100" b="1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zione del programma Sicuro! P-O </a:t>
          </a:r>
        </a:p>
        <a:p>
          <a:pPr>
            <a:buClrTx/>
            <a:buSzTx/>
            <a:buFontTx/>
            <a:buNone/>
          </a:pPr>
          <a:r>
            <a:rPr kumimoji="0" lang="it-IT" sz="11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Thomas Brandt (P-O)</a:t>
          </a:r>
          <a:endParaRPr lang="de-CH" sz="1100" b="0" dirty="0">
            <a:solidFill>
              <a:schemeClr val="bg1"/>
            </a:solidFill>
            <a:latin typeface="SBB Light" pitchFamily="2" charset="0"/>
          </a:endParaRPr>
        </a:p>
      </dgm:t>
    </dgm:pt>
    <dgm:pt modelId="{CAA1DBCE-1071-4743-9DEE-48E94098441D}" type="parTrans" cxnId="{80F464B7-2E3D-40BF-AFED-D2B48126B962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23E46B98-54FF-41BA-9EE5-E3DE82F9FEC5}" type="sibTrans" cxnId="{80F464B7-2E3D-40BF-AFED-D2B48126B962}">
      <dgm:prSet/>
      <dgm:spPr/>
      <dgm:t>
        <a:bodyPr/>
        <a:lstStyle/>
        <a:p>
          <a:endParaRPr lang="de-CH"/>
        </a:p>
      </dgm:t>
    </dgm:pt>
    <dgm:pt modelId="{60900984-AA55-4620-A2EA-DC62E35995E3}">
      <dgm:prSet phldrT="[Text]" custT="1"/>
      <dgm:spPr>
        <a:solidFill>
          <a:srgbClr val="2D327D"/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kumimoji="0" lang="it-IT" sz="1100" b="1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zione del programma Sicuro! Gruppo FFS</a:t>
          </a:r>
        </a:p>
        <a:p>
          <a:pPr>
            <a:buClrTx/>
            <a:buSzTx/>
            <a:buFontTx/>
            <a:buNone/>
          </a:pPr>
          <a:r>
            <a:rPr kumimoji="0" lang="it-IT" sz="11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Patrick Hadorn (K-SQ) </a:t>
          </a:r>
          <a:endParaRPr lang="de-CH" sz="1100" b="0" dirty="0">
            <a:solidFill>
              <a:schemeClr val="bg1"/>
            </a:solidFill>
            <a:latin typeface="SBB Light" pitchFamily="2" charset="0"/>
          </a:endParaRPr>
        </a:p>
      </dgm:t>
    </dgm:pt>
    <dgm:pt modelId="{0CE9A8C1-B526-44A3-B4E2-96187DF96B71}" type="parTrans" cxnId="{3B26035C-F603-43EB-94BB-BD4559DA6968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CFE10273-E8C1-4347-B50B-D68A4A1F78B4}" type="sibTrans" cxnId="{3B26035C-F603-43EB-94BB-BD4559DA6968}">
      <dgm:prSet/>
      <dgm:spPr/>
      <dgm:t>
        <a:bodyPr/>
        <a:lstStyle/>
        <a:p>
          <a:endParaRPr lang="de-CH"/>
        </a:p>
      </dgm:t>
    </dgm:pt>
    <dgm:pt modelId="{0D092553-5657-40C8-B169-E603143EFA9A}" type="asst">
      <dgm:prSet custT="1"/>
      <dgm:spPr/>
      <dgm:t>
        <a:bodyPr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000" b="1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Revisione interna</a:t>
          </a:r>
        </a:p>
        <a:p>
          <a:pPr marL="0"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000">
              <a:latin typeface="SBB Light"/>
              <a:ea typeface="SBB Light"/>
              <a:cs typeface="SBB Light"/>
              <a:sym typeface="SBB Light"/>
            </a:rPr>
            <a:t>Stefan Raimann (REV)</a:t>
          </a:r>
        </a:p>
      </dgm:t>
    </dgm:pt>
    <dgm:pt modelId="{C334CB3C-7D52-4200-A20E-56976DB73F1B}" type="parTrans" cxnId="{ADD083D5-D381-416A-B9DB-C9604C115F6F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2595AB9C-BE46-4129-94AC-AD2C980A19CA}" type="sibTrans" cxnId="{ADD083D5-D381-416A-B9DB-C9604C115F6F}">
      <dgm:prSet/>
      <dgm:spPr/>
      <dgm:t>
        <a:bodyPr/>
        <a:lstStyle/>
        <a:p>
          <a:endParaRPr lang="de-CH"/>
        </a:p>
      </dgm:t>
    </dgm:pt>
    <dgm:pt modelId="{9E4D289C-8366-4266-BE1C-FAD71A417349}" type="pres">
      <dgm:prSet presAssocID="{50E1B2F0-4A22-47E5-9098-288633BBC04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6437EB84-AB82-46B7-B646-8FB06B4DD110}" type="pres">
      <dgm:prSet presAssocID="{D4F7164A-9FF1-4F65-82AC-B9F25046820D}" presName="hierRoot1" presStyleCnt="0">
        <dgm:presLayoutVars>
          <dgm:hierBranch val="init"/>
        </dgm:presLayoutVars>
      </dgm:prSet>
      <dgm:spPr/>
    </dgm:pt>
    <dgm:pt modelId="{661B6D4E-0B7C-43FC-B1A9-89D374273E8B}" type="pres">
      <dgm:prSet presAssocID="{D4F7164A-9FF1-4F65-82AC-B9F25046820D}" presName="rootComposite1" presStyleCnt="0"/>
      <dgm:spPr/>
    </dgm:pt>
    <dgm:pt modelId="{0E5EE670-97EA-4DCC-9583-25EE404A7C57}" type="pres">
      <dgm:prSet presAssocID="{D4F7164A-9FF1-4F65-82AC-B9F25046820D}" presName="rootText1" presStyleLbl="node0" presStyleIdx="0" presStyleCnt="1" custScaleX="164119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DBB25F16-E515-4313-B65D-7BE52983E341}" type="pres">
      <dgm:prSet presAssocID="{D4F7164A-9FF1-4F65-82AC-B9F25046820D}" presName="rootConnector1" presStyleLbl="node1" presStyleIdx="0" presStyleCnt="0"/>
      <dgm:spPr/>
      <dgm:t>
        <a:bodyPr/>
        <a:lstStyle/>
        <a:p>
          <a:endParaRPr lang="de-DE"/>
        </a:p>
      </dgm:t>
    </dgm:pt>
    <dgm:pt modelId="{0EC75DF8-C5F6-446D-86B2-12744CCD57FD}" type="pres">
      <dgm:prSet presAssocID="{D4F7164A-9FF1-4F65-82AC-B9F25046820D}" presName="hierChild2" presStyleCnt="0"/>
      <dgm:spPr/>
    </dgm:pt>
    <dgm:pt modelId="{A581E2E3-F6CB-4685-ABCF-7ADA78045F5E}" type="pres">
      <dgm:prSet presAssocID="{CAA1DBCE-1071-4743-9DEE-48E94098441D}" presName="Name37" presStyleLbl="parChTrans1D2" presStyleIdx="0" presStyleCnt="4"/>
      <dgm:spPr/>
      <dgm:t>
        <a:bodyPr/>
        <a:lstStyle/>
        <a:p>
          <a:endParaRPr lang="de-DE"/>
        </a:p>
      </dgm:t>
    </dgm:pt>
    <dgm:pt modelId="{EB648108-F905-410F-BE92-E1B4F7C8DBFB}" type="pres">
      <dgm:prSet presAssocID="{C1EB3BC5-9EF0-40E7-B0C0-578998897A07}" presName="hierRoot2" presStyleCnt="0">
        <dgm:presLayoutVars>
          <dgm:hierBranch val="init"/>
        </dgm:presLayoutVars>
      </dgm:prSet>
      <dgm:spPr/>
    </dgm:pt>
    <dgm:pt modelId="{1D819A5F-8B3F-4C26-AEC5-222D0AAC4B67}" type="pres">
      <dgm:prSet presAssocID="{C1EB3BC5-9EF0-40E7-B0C0-578998897A07}" presName="rootComposite" presStyleCnt="0"/>
      <dgm:spPr/>
    </dgm:pt>
    <dgm:pt modelId="{7112C8EE-C921-488E-8174-B5D24B6C4FC3}" type="pres">
      <dgm:prSet presAssocID="{C1EB3BC5-9EF0-40E7-B0C0-578998897A07}" presName="rootText" presStyleLbl="node2" presStyleIdx="0" presStyleCnt="2" custScaleX="157469" custScaleY="5954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E4B68EF-5D32-4DC2-92CD-3C6D98F0ED0A}" type="pres">
      <dgm:prSet presAssocID="{C1EB3BC5-9EF0-40E7-B0C0-578998897A07}" presName="rootConnector" presStyleLbl="node2" presStyleIdx="0" presStyleCnt="2"/>
      <dgm:spPr/>
      <dgm:t>
        <a:bodyPr/>
        <a:lstStyle/>
        <a:p>
          <a:endParaRPr lang="de-DE"/>
        </a:p>
      </dgm:t>
    </dgm:pt>
    <dgm:pt modelId="{38827B23-776C-4C5E-9CBE-0215CB7DEAC4}" type="pres">
      <dgm:prSet presAssocID="{C1EB3BC5-9EF0-40E7-B0C0-578998897A07}" presName="hierChild4" presStyleCnt="0"/>
      <dgm:spPr/>
    </dgm:pt>
    <dgm:pt modelId="{5F60D51F-B580-457B-A4D7-5D2D7A74B341}" type="pres">
      <dgm:prSet presAssocID="{C1EB3BC5-9EF0-40E7-B0C0-578998897A07}" presName="hierChild5" presStyleCnt="0"/>
      <dgm:spPr/>
    </dgm:pt>
    <dgm:pt modelId="{21E7CF85-A509-4B6A-8FF6-06F2A602A405}" type="pres">
      <dgm:prSet presAssocID="{0CE9A8C1-B526-44A3-B4E2-96187DF96B71}" presName="Name37" presStyleLbl="parChTrans1D2" presStyleIdx="1" presStyleCnt="4"/>
      <dgm:spPr/>
      <dgm:t>
        <a:bodyPr/>
        <a:lstStyle/>
        <a:p>
          <a:endParaRPr lang="de-DE"/>
        </a:p>
      </dgm:t>
    </dgm:pt>
    <dgm:pt modelId="{1DF13382-4F48-4EC5-B9DC-1039E3596433}" type="pres">
      <dgm:prSet presAssocID="{60900984-AA55-4620-A2EA-DC62E35995E3}" presName="hierRoot2" presStyleCnt="0">
        <dgm:presLayoutVars>
          <dgm:hierBranch val="init"/>
        </dgm:presLayoutVars>
      </dgm:prSet>
      <dgm:spPr/>
    </dgm:pt>
    <dgm:pt modelId="{CFD1B4A7-1057-4B5D-B9B7-00EBE2AFAB92}" type="pres">
      <dgm:prSet presAssocID="{60900984-AA55-4620-A2EA-DC62E35995E3}" presName="rootComposite" presStyleCnt="0"/>
      <dgm:spPr/>
    </dgm:pt>
    <dgm:pt modelId="{D92C46C5-1699-4B3F-A6CA-7B22AD49F444}" type="pres">
      <dgm:prSet presAssocID="{60900984-AA55-4620-A2EA-DC62E35995E3}" presName="rootText" presStyleLbl="node2" presStyleIdx="1" presStyleCnt="2" custScaleX="157469" custScaleY="5954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C9D98A0-B234-41CD-813F-6AD004816E7C}" type="pres">
      <dgm:prSet presAssocID="{60900984-AA55-4620-A2EA-DC62E35995E3}" presName="rootConnector" presStyleLbl="node2" presStyleIdx="1" presStyleCnt="2"/>
      <dgm:spPr/>
      <dgm:t>
        <a:bodyPr/>
        <a:lstStyle/>
        <a:p>
          <a:endParaRPr lang="de-DE"/>
        </a:p>
      </dgm:t>
    </dgm:pt>
    <dgm:pt modelId="{C2FFA42B-AA7B-45D4-829C-72BE3AB1B78D}" type="pres">
      <dgm:prSet presAssocID="{60900984-AA55-4620-A2EA-DC62E35995E3}" presName="hierChild4" presStyleCnt="0"/>
      <dgm:spPr/>
    </dgm:pt>
    <dgm:pt modelId="{CA53C2AC-1296-48D8-8064-558DE78584E4}" type="pres">
      <dgm:prSet presAssocID="{60900984-AA55-4620-A2EA-DC62E35995E3}" presName="hierChild5" presStyleCnt="0"/>
      <dgm:spPr/>
    </dgm:pt>
    <dgm:pt modelId="{D218E698-BDA3-4DAA-AF20-04ABF4E0A583}" type="pres">
      <dgm:prSet presAssocID="{D4F7164A-9FF1-4F65-82AC-B9F25046820D}" presName="hierChild3" presStyleCnt="0"/>
      <dgm:spPr/>
    </dgm:pt>
    <dgm:pt modelId="{AF6EDF22-D0EC-4339-A430-3597838F18C9}" type="pres">
      <dgm:prSet presAssocID="{453A13CE-3AA3-4C9F-B7F7-90265CCFDBB3}" presName="Name111" presStyleLbl="parChTrans1D2" presStyleIdx="2" presStyleCnt="4"/>
      <dgm:spPr/>
      <dgm:t>
        <a:bodyPr/>
        <a:lstStyle/>
        <a:p>
          <a:endParaRPr lang="de-DE"/>
        </a:p>
      </dgm:t>
    </dgm:pt>
    <dgm:pt modelId="{FEE5B9B6-1E4A-4A02-8DBE-0C0AFE17D6E5}" type="pres">
      <dgm:prSet presAssocID="{B38FC32D-7CC4-43AF-9124-DCFA0F4DF293}" presName="hierRoot3" presStyleCnt="0">
        <dgm:presLayoutVars>
          <dgm:hierBranch val="init"/>
        </dgm:presLayoutVars>
      </dgm:prSet>
      <dgm:spPr/>
    </dgm:pt>
    <dgm:pt modelId="{6B5E8D30-B02C-4B26-836B-3ED231EDA972}" type="pres">
      <dgm:prSet presAssocID="{B38FC32D-7CC4-43AF-9124-DCFA0F4DF293}" presName="rootComposite3" presStyleCnt="0"/>
      <dgm:spPr/>
    </dgm:pt>
    <dgm:pt modelId="{4430D1F1-4169-4541-9E38-94BB66275897}" type="pres">
      <dgm:prSet presAssocID="{B38FC32D-7CC4-43AF-9124-DCFA0F4DF293}" presName="rootText3" presStyleLbl="asst1" presStyleIdx="0" presStyleCnt="2" custScaleX="109161" custScaleY="59542" custLinFactNeighborX="-22952" custLinFactNeighborY="-349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5AC39B6-E2E1-4A6D-8C5E-FBC75C7A6F00}" type="pres">
      <dgm:prSet presAssocID="{B38FC32D-7CC4-43AF-9124-DCFA0F4DF293}" presName="rootConnector3" presStyleLbl="asst1" presStyleIdx="0" presStyleCnt="2"/>
      <dgm:spPr/>
      <dgm:t>
        <a:bodyPr/>
        <a:lstStyle/>
        <a:p>
          <a:endParaRPr lang="de-DE"/>
        </a:p>
      </dgm:t>
    </dgm:pt>
    <dgm:pt modelId="{70D5D2D4-2E99-4C6B-811E-7D4E805AA104}" type="pres">
      <dgm:prSet presAssocID="{B38FC32D-7CC4-43AF-9124-DCFA0F4DF293}" presName="hierChild6" presStyleCnt="0"/>
      <dgm:spPr/>
    </dgm:pt>
    <dgm:pt modelId="{CB2316CC-217C-4ACB-8075-106343AD20E2}" type="pres">
      <dgm:prSet presAssocID="{B38FC32D-7CC4-43AF-9124-DCFA0F4DF293}" presName="hierChild7" presStyleCnt="0"/>
      <dgm:spPr/>
    </dgm:pt>
    <dgm:pt modelId="{798466CD-36E0-4FBC-9295-4CC48F2C5C84}" type="pres">
      <dgm:prSet presAssocID="{C334CB3C-7D52-4200-A20E-56976DB73F1B}" presName="Name111" presStyleLbl="parChTrans1D2" presStyleIdx="3" presStyleCnt="4"/>
      <dgm:spPr/>
      <dgm:t>
        <a:bodyPr/>
        <a:lstStyle/>
        <a:p>
          <a:endParaRPr lang="de-DE"/>
        </a:p>
      </dgm:t>
    </dgm:pt>
    <dgm:pt modelId="{DFD67269-3504-452E-B609-4A4E7095B99F}" type="pres">
      <dgm:prSet presAssocID="{0D092553-5657-40C8-B169-E603143EFA9A}" presName="hierRoot3" presStyleCnt="0">
        <dgm:presLayoutVars>
          <dgm:hierBranch val="init"/>
        </dgm:presLayoutVars>
      </dgm:prSet>
      <dgm:spPr/>
    </dgm:pt>
    <dgm:pt modelId="{F3334448-BB2D-4F85-A7F2-EA6C198482DF}" type="pres">
      <dgm:prSet presAssocID="{0D092553-5657-40C8-B169-E603143EFA9A}" presName="rootComposite3" presStyleCnt="0"/>
      <dgm:spPr/>
    </dgm:pt>
    <dgm:pt modelId="{2315E9A1-CFAA-450A-882F-CE658D5789B8}" type="pres">
      <dgm:prSet presAssocID="{0D092553-5657-40C8-B169-E603143EFA9A}" presName="rootText3" presStyleLbl="asst1" presStyleIdx="1" presStyleCnt="2" custScaleX="109161" custScaleY="59542" custLinFactNeighborX="23911" custLinFactNeighborY="-349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6873553-49B0-4F37-91BF-9CE4F05E1A75}" type="pres">
      <dgm:prSet presAssocID="{0D092553-5657-40C8-B169-E603143EFA9A}" presName="rootConnector3" presStyleLbl="asst1" presStyleIdx="1" presStyleCnt="2"/>
      <dgm:spPr/>
      <dgm:t>
        <a:bodyPr/>
        <a:lstStyle/>
        <a:p>
          <a:endParaRPr lang="de-DE"/>
        </a:p>
      </dgm:t>
    </dgm:pt>
    <dgm:pt modelId="{47D938DA-1494-49F9-9A37-4FD4E960142E}" type="pres">
      <dgm:prSet presAssocID="{0D092553-5657-40C8-B169-E603143EFA9A}" presName="hierChild6" presStyleCnt="0"/>
      <dgm:spPr/>
    </dgm:pt>
    <dgm:pt modelId="{86AF557E-4F9A-4FE6-BB43-A168E5FD779C}" type="pres">
      <dgm:prSet presAssocID="{0D092553-5657-40C8-B169-E603143EFA9A}" presName="hierChild7" presStyleCnt="0"/>
      <dgm:spPr/>
    </dgm:pt>
  </dgm:ptLst>
  <dgm:cxnLst>
    <dgm:cxn modelId="{52E7B5BC-BB4E-4B5A-8FD5-04042BF3386C}" type="presOf" srcId="{60900984-AA55-4620-A2EA-DC62E35995E3}" destId="{D92C46C5-1699-4B3F-A6CA-7B22AD49F444}" srcOrd="0" destOrd="0" presId="urn:microsoft.com/office/officeart/2005/8/layout/orgChart1"/>
    <dgm:cxn modelId="{80F464B7-2E3D-40BF-AFED-D2B48126B962}" srcId="{D4F7164A-9FF1-4F65-82AC-B9F25046820D}" destId="{C1EB3BC5-9EF0-40E7-B0C0-578998897A07}" srcOrd="1" destOrd="0" parTransId="{CAA1DBCE-1071-4743-9DEE-48E94098441D}" sibTransId="{23E46B98-54FF-41BA-9EE5-E3DE82F9FEC5}"/>
    <dgm:cxn modelId="{46351FC9-A3FB-4A6E-9476-6D125DEA3383}" type="presOf" srcId="{D4F7164A-9FF1-4F65-82AC-B9F25046820D}" destId="{0E5EE670-97EA-4DCC-9583-25EE404A7C57}" srcOrd="0" destOrd="0" presId="urn:microsoft.com/office/officeart/2005/8/layout/orgChart1"/>
    <dgm:cxn modelId="{4E048EE7-3784-4624-BA42-9A3E2A456B62}" type="presOf" srcId="{D4F7164A-9FF1-4F65-82AC-B9F25046820D}" destId="{DBB25F16-E515-4313-B65D-7BE52983E341}" srcOrd="1" destOrd="0" presId="urn:microsoft.com/office/officeart/2005/8/layout/orgChart1"/>
    <dgm:cxn modelId="{FBBDFB96-64DB-4143-8E09-1082562C8704}" type="presOf" srcId="{0D092553-5657-40C8-B169-E603143EFA9A}" destId="{2315E9A1-CFAA-450A-882F-CE658D5789B8}" srcOrd="0" destOrd="0" presId="urn:microsoft.com/office/officeart/2005/8/layout/orgChart1"/>
    <dgm:cxn modelId="{06C1F728-8263-4C44-8DB9-679D97A5BFDD}" type="presOf" srcId="{C1EB3BC5-9EF0-40E7-B0C0-578998897A07}" destId="{3E4B68EF-5D32-4DC2-92CD-3C6D98F0ED0A}" srcOrd="1" destOrd="0" presId="urn:microsoft.com/office/officeart/2005/8/layout/orgChart1"/>
    <dgm:cxn modelId="{B160EEF6-F907-4266-8EF9-EDADA3FBF161}" type="presOf" srcId="{0CE9A8C1-B526-44A3-B4E2-96187DF96B71}" destId="{21E7CF85-A509-4B6A-8FF6-06F2A602A405}" srcOrd="0" destOrd="0" presId="urn:microsoft.com/office/officeart/2005/8/layout/orgChart1"/>
    <dgm:cxn modelId="{DAAA533B-DE1F-485C-A5AA-120FAE2E8805}" type="presOf" srcId="{453A13CE-3AA3-4C9F-B7F7-90265CCFDBB3}" destId="{AF6EDF22-D0EC-4339-A430-3597838F18C9}" srcOrd="0" destOrd="0" presId="urn:microsoft.com/office/officeart/2005/8/layout/orgChart1"/>
    <dgm:cxn modelId="{ADD083D5-D381-416A-B9DB-C9604C115F6F}" srcId="{D4F7164A-9FF1-4F65-82AC-B9F25046820D}" destId="{0D092553-5657-40C8-B169-E603143EFA9A}" srcOrd="3" destOrd="0" parTransId="{C334CB3C-7D52-4200-A20E-56976DB73F1B}" sibTransId="{2595AB9C-BE46-4129-94AC-AD2C980A19CA}"/>
    <dgm:cxn modelId="{38640DC1-0BB3-4058-B08C-6E56D95194D2}" srcId="{50E1B2F0-4A22-47E5-9098-288633BBC041}" destId="{D4F7164A-9FF1-4F65-82AC-B9F25046820D}" srcOrd="0" destOrd="0" parTransId="{0D276855-C69D-440E-BF19-9F7FB242F22C}" sibTransId="{962CBA58-A06F-419E-B46B-8102F954B567}"/>
    <dgm:cxn modelId="{9DBD0E44-88D9-4CB3-A4E3-6BFC05EB02A3}" type="presOf" srcId="{0D092553-5657-40C8-B169-E603143EFA9A}" destId="{F6873553-49B0-4F37-91BF-9CE4F05E1A75}" srcOrd="1" destOrd="0" presId="urn:microsoft.com/office/officeart/2005/8/layout/orgChart1"/>
    <dgm:cxn modelId="{A02AB1D5-92A0-47CA-8F09-C7372D24174E}" type="presOf" srcId="{CAA1DBCE-1071-4743-9DEE-48E94098441D}" destId="{A581E2E3-F6CB-4685-ABCF-7ADA78045F5E}" srcOrd="0" destOrd="0" presId="urn:microsoft.com/office/officeart/2005/8/layout/orgChart1"/>
    <dgm:cxn modelId="{4C88F719-95AD-44E7-B29A-B1052D5A4A9A}" type="presOf" srcId="{C1EB3BC5-9EF0-40E7-B0C0-578998897A07}" destId="{7112C8EE-C921-488E-8174-B5D24B6C4FC3}" srcOrd="0" destOrd="0" presId="urn:microsoft.com/office/officeart/2005/8/layout/orgChart1"/>
    <dgm:cxn modelId="{D548ADD2-E2FB-4A8A-97CB-3BE1CD24003C}" type="presOf" srcId="{B38FC32D-7CC4-43AF-9124-DCFA0F4DF293}" destId="{55AC39B6-E2E1-4A6D-8C5E-FBC75C7A6F00}" srcOrd="1" destOrd="0" presId="urn:microsoft.com/office/officeart/2005/8/layout/orgChart1"/>
    <dgm:cxn modelId="{E198A413-BF5A-4A91-A9AF-7C8DF8B6A404}" type="presOf" srcId="{60900984-AA55-4620-A2EA-DC62E35995E3}" destId="{0C9D98A0-B234-41CD-813F-6AD004816E7C}" srcOrd="1" destOrd="0" presId="urn:microsoft.com/office/officeart/2005/8/layout/orgChart1"/>
    <dgm:cxn modelId="{FAC6D013-0ACF-4218-B6E5-BCC0B53873B8}" type="presOf" srcId="{C334CB3C-7D52-4200-A20E-56976DB73F1B}" destId="{798466CD-36E0-4FBC-9295-4CC48F2C5C84}" srcOrd="0" destOrd="0" presId="urn:microsoft.com/office/officeart/2005/8/layout/orgChart1"/>
    <dgm:cxn modelId="{EBD21DF8-3920-4FAC-94AA-BB760C48F3FF}" srcId="{D4F7164A-9FF1-4F65-82AC-B9F25046820D}" destId="{B38FC32D-7CC4-43AF-9124-DCFA0F4DF293}" srcOrd="0" destOrd="0" parTransId="{453A13CE-3AA3-4C9F-B7F7-90265CCFDBB3}" sibTransId="{A9A79CB1-BD10-4FC9-B4A5-33466D736D5B}"/>
    <dgm:cxn modelId="{2C632E89-D284-4F2A-88E1-C53288A7EAE6}" type="presOf" srcId="{50E1B2F0-4A22-47E5-9098-288633BBC041}" destId="{9E4D289C-8366-4266-BE1C-FAD71A417349}" srcOrd="0" destOrd="0" presId="urn:microsoft.com/office/officeart/2005/8/layout/orgChart1"/>
    <dgm:cxn modelId="{3B26035C-F603-43EB-94BB-BD4559DA6968}" srcId="{D4F7164A-9FF1-4F65-82AC-B9F25046820D}" destId="{60900984-AA55-4620-A2EA-DC62E35995E3}" srcOrd="2" destOrd="0" parTransId="{0CE9A8C1-B526-44A3-B4E2-96187DF96B71}" sibTransId="{CFE10273-E8C1-4347-B50B-D68A4A1F78B4}"/>
    <dgm:cxn modelId="{EA849472-9CE9-431A-96F7-0D82E8C8B5ED}" type="presOf" srcId="{B38FC32D-7CC4-43AF-9124-DCFA0F4DF293}" destId="{4430D1F1-4169-4541-9E38-94BB66275897}" srcOrd="0" destOrd="0" presId="urn:microsoft.com/office/officeart/2005/8/layout/orgChart1"/>
    <dgm:cxn modelId="{B0710E59-43B4-439A-992B-6D5D11DADC6F}" type="presParOf" srcId="{9E4D289C-8366-4266-BE1C-FAD71A417349}" destId="{6437EB84-AB82-46B7-B646-8FB06B4DD110}" srcOrd="0" destOrd="0" presId="urn:microsoft.com/office/officeart/2005/8/layout/orgChart1"/>
    <dgm:cxn modelId="{A5FA7CE0-6CF4-41BD-AA72-FA0923D4DA73}" type="presParOf" srcId="{6437EB84-AB82-46B7-B646-8FB06B4DD110}" destId="{661B6D4E-0B7C-43FC-B1A9-89D374273E8B}" srcOrd="0" destOrd="0" presId="urn:microsoft.com/office/officeart/2005/8/layout/orgChart1"/>
    <dgm:cxn modelId="{7F8D654E-300A-4AC8-A254-E6B436A35986}" type="presParOf" srcId="{661B6D4E-0B7C-43FC-B1A9-89D374273E8B}" destId="{0E5EE670-97EA-4DCC-9583-25EE404A7C57}" srcOrd="0" destOrd="0" presId="urn:microsoft.com/office/officeart/2005/8/layout/orgChart1"/>
    <dgm:cxn modelId="{0905CE44-7B44-404F-ADEF-FC2178A273B9}" type="presParOf" srcId="{661B6D4E-0B7C-43FC-B1A9-89D374273E8B}" destId="{DBB25F16-E515-4313-B65D-7BE52983E341}" srcOrd="1" destOrd="0" presId="urn:microsoft.com/office/officeart/2005/8/layout/orgChart1"/>
    <dgm:cxn modelId="{7842EDE9-7E1C-4F86-A7FA-249B03526054}" type="presParOf" srcId="{6437EB84-AB82-46B7-B646-8FB06B4DD110}" destId="{0EC75DF8-C5F6-446D-86B2-12744CCD57FD}" srcOrd="1" destOrd="0" presId="urn:microsoft.com/office/officeart/2005/8/layout/orgChart1"/>
    <dgm:cxn modelId="{A32FB801-DD18-4EE4-9F04-C6A538C6F432}" type="presParOf" srcId="{0EC75DF8-C5F6-446D-86B2-12744CCD57FD}" destId="{A581E2E3-F6CB-4685-ABCF-7ADA78045F5E}" srcOrd="0" destOrd="0" presId="urn:microsoft.com/office/officeart/2005/8/layout/orgChart1"/>
    <dgm:cxn modelId="{D410171A-6FD0-46DD-8F15-246D88F4D42C}" type="presParOf" srcId="{0EC75DF8-C5F6-446D-86B2-12744CCD57FD}" destId="{EB648108-F905-410F-BE92-E1B4F7C8DBFB}" srcOrd="1" destOrd="0" presId="urn:microsoft.com/office/officeart/2005/8/layout/orgChart1"/>
    <dgm:cxn modelId="{50979B32-3718-4189-AF21-06057BD2D180}" type="presParOf" srcId="{EB648108-F905-410F-BE92-E1B4F7C8DBFB}" destId="{1D819A5F-8B3F-4C26-AEC5-222D0AAC4B67}" srcOrd="0" destOrd="0" presId="urn:microsoft.com/office/officeart/2005/8/layout/orgChart1"/>
    <dgm:cxn modelId="{A6E68E65-B6E9-4D53-A207-CB3A23ED7B72}" type="presParOf" srcId="{1D819A5F-8B3F-4C26-AEC5-222D0AAC4B67}" destId="{7112C8EE-C921-488E-8174-B5D24B6C4FC3}" srcOrd="0" destOrd="0" presId="urn:microsoft.com/office/officeart/2005/8/layout/orgChart1"/>
    <dgm:cxn modelId="{5383A39A-C3E6-4219-A963-E42511A63109}" type="presParOf" srcId="{1D819A5F-8B3F-4C26-AEC5-222D0AAC4B67}" destId="{3E4B68EF-5D32-4DC2-92CD-3C6D98F0ED0A}" srcOrd="1" destOrd="0" presId="urn:microsoft.com/office/officeart/2005/8/layout/orgChart1"/>
    <dgm:cxn modelId="{399975EF-E065-4FC2-B025-037A655B34BA}" type="presParOf" srcId="{EB648108-F905-410F-BE92-E1B4F7C8DBFB}" destId="{38827B23-776C-4C5E-9CBE-0215CB7DEAC4}" srcOrd="1" destOrd="0" presId="urn:microsoft.com/office/officeart/2005/8/layout/orgChart1"/>
    <dgm:cxn modelId="{9338663E-2D98-4633-973D-B2714C0E3D40}" type="presParOf" srcId="{EB648108-F905-410F-BE92-E1B4F7C8DBFB}" destId="{5F60D51F-B580-457B-A4D7-5D2D7A74B341}" srcOrd="2" destOrd="0" presId="urn:microsoft.com/office/officeart/2005/8/layout/orgChart1"/>
    <dgm:cxn modelId="{2D755435-237D-4EEA-80A0-C6392DA6E728}" type="presParOf" srcId="{0EC75DF8-C5F6-446D-86B2-12744CCD57FD}" destId="{21E7CF85-A509-4B6A-8FF6-06F2A602A405}" srcOrd="2" destOrd="0" presId="urn:microsoft.com/office/officeart/2005/8/layout/orgChart1"/>
    <dgm:cxn modelId="{86C0AC2B-9FB4-40FA-9249-1A186D057766}" type="presParOf" srcId="{0EC75DF8-C5F6-446D-86B2-12744CCD57FD}" destId="{1DF13382-4F48-4EC5-B9DC-1039E3596433}" srcOrd="3" destOrd="0" presId="urn:microsoft.com/office/officeart/2005/8/layout/orgChart1"/>
    <dgm:cxn modelId="{B1942D57-0FC4-432A-AC14-12F21BB46639}" type="presParOf" srcId="{1DF13382-4F48-4EC5-B9DC-1039E3596433}" destId="{CFD1B4A7-1057-4B5D-B9B7-00EBE2AFAB92}" srcOrd="0" destOrd="0" presId="urn:microsoft.com/office/officeart/2005/8/layout/orgChart1"/>
    <dgm:cxn modelId="{1B4B4F30-4B6E-4812-96DC-964E9E867340}" type="presParOf" srcId="{CFD1B4A7-1057-4B5D-B9B7-00EBE2AFAB92}" destId="{D92C46C5-1699-4B3F-A6CA-7B22AD49F444}" srcOrd="0" destOrd="0" presId="urn:microsoft.com/office/officeart/2005/8/layout/orgChart1"/>
    <dgm:cxn modelId="{BE6C086B-35FA-43CE-8482-638A8ED0471D}" type="presParOf" srcId="{CFD1B4A7-1057-4B5D-B9B7-00EBE2AFAB92}" destId="{0C9D98A0-B234-41CD-813F-6AD004816E7C}" srcOrd="1" destOrd="0" presId="urn:microsoft.com/office/officeart/2005/8/layout/orgChart1"/>
    <dgm:cxn modelId="{EDF03C1A-0315-47ED-904D-8B35B156B8B1}" type="presParOf" srcId="{1DF13382-4F48-4EC5-B9DC-1039E3596433}" destId="{C2FFA42B-AA7B-45D4-829C-72BE3AB1B78D}" srcOrd="1" destOrd="0" presId="urn:microsoft.com/office/officeart/2005/8/layout/orgChart1"/>
    <dgm:cxn modelId="{69B472EC-D5F1-47BE-9569-8A255225B3D9}" type="presParOf" srcId="{1DF13382-4F48-4EC5-B9DC-1039E3596433}" destId="{CA53C2AC-1296-48D8-8064-558DE78584E4}" srcOrd="2" destOrd="0" presId="urn:microsoft.com/office/officeart/2005/8/layout/orgChart1"/>
    <dgm:cxn modelId="{0DF133AE-CB6E-4513-8FB9-2DEF17EFF2F3}" type="presParOf" srcId="{6437EB84-AB82-46B7-B646-8FB06B4DD110}" destId="{D218E698-BDA3-4DAA-AF20-04ABF4E0A583}" srcOrd="2" destOrd="0" presId="urn:microsoft.com/office/officeart/2005/8/layout/orgChart1"/>
    <dgm:cxn modelId="{C5DB8F22-41ED-4FF0-AE9C-9B11341BD008}" type="presParOf" srcId="{D218E698-BDA3-4DAA-AF20-04ABF4E0A583}" destId="{AF6EDF22-D0EC-4339-A430-3597838F18C9}" srcOrd="0" destOrd="0" presId="urn:microsoft.com/office/officeart/2005/8/layout/orgChart1"/>
    <dgm:cxn modelId="{54EAC345-F01D-4AC7-8784-9DC4CAB7E432}" type="presParOf" srcId="{D218E698-BDA3-4DAA-AF20-04ABF4E0A583}" destId="{FEE5B9B6-1E4A-4A02-8DBE-0C0AFE17D6E5}" srcOrd="1" destOrd="0" presId="urn:microsoft.com/office/officeart/2005/8/layout/orgChart1"/>
    <dgm:cxn modelId="{DB1FFA73-BAE1-434D-A56F-A4A96446BBE2}" type="presParOf" srcId="{FEE5B9B6-1E4A-4A02-8DBE-0C0AFE17D6E5}" destId="{6B5E8D30-B02C-4B26-836B-3ED231EDA972}" srcOrd="0" destOrd="0" presId="urn:microsoft.com/office/officeart/2005/8/layout/orgChart1"/>
    <dgm:cxn modelId="{36E6B3CA-4293-4875-B1B9-92E3BDC83B15}" type="presParOf" srcId="{6B5E8D30-B02C-4B26-836B-3ED231EDA972}" destId="{4430D1F1-4169-4541-9E38-94BB66275897}" srcOrd="0" destOrd="0" presId="urn:microsoft.com/office/officeart/2005/8/layout/orgChart1"/>
    <dgm:cxn modelId="{49054074-2079-46BF-A5C4-7C868226A304}" type="presParOf" srcId="{6B5E8D30-B02C-4B26-836B-3ED231EDA972}" destId="{55AC39B6-E2E1-4A6D-8C5E-FBC75C7A6F00}" srcOrd="1" destOrd="0" presId="urn:microsoft.com/office/officeart/2005/8/layout/orgChart1"/>
    <dgm:cxn modelId="{8B0EA781-0E5E-4523-A1E9-EB8F42415CFD}" type="presParOf" srcId="{FEE5B9B6-1E4A-4A02-8DBE-0C0AFE17D6E5}" destId="{70D5D2D4-2E99-4C6B-811E-7D4E805AA104}" srcOrd="1" destOrd="0" presId="urn:microsoft.com/office/officeart/2005/8/layout/orgChart1"/>
    <dgm:cxn modelId="{1DC617CB-F9A7-439E-9A26-06030933CA78}" type="presParOf" srcId="{FEE5B9B6-1E4A-4A02-8DBE-0C0AFE17D6E5}" destId="{CB2316CC-217C-4ACB-8075-106343AD20E2}" srcOrd="2" destOrd="0" presId="urn:microsoft.com/office/officeart/2005/8/layout/orgChart1"/>
    <dgm:cxn modelId="{8D8EE9A8-6206-4847-80B6-80E3C4B75218}" type="presParOf" srcId="{D218E698-BDA3-4DAA-AF20-04ABF4E0A583}" destId="{798466CD-36E0-4FBC-9295-4CC48F2C5C84}" srcOrd="2" destOrd="0" presId="urn:microsoft.com/office/officeart/2005/8/layout/orgChart1"/>
    <dgm:cxn modelId="{51EEE910-FE87-41E9-8BB0-5BF20F567350}" type="presParOf" srcId="{D218E698-BDA3-4DAA-AF20-04ABF4E0A583}" destId="{DFD67269-3504-452E-B609-4A4E7095B99F}" srcOrd="3" destOrd="0" presId="urn:microsoft.com/office/officeart/2005/8/layout/orgChart1"/>
    <dgm:cxn modelId="{C2D37BE5-1308-4CBA-A066-08615414437E}" type="presParOf" srcId="{DFD67269-3504-452E-B609-4A4E7095B99F}" destId="{F3334448-BB2D-4F85-A7F2-EA6C198482DF}" srcOrd="0" destOrd="0" presId="urn:microsoft.com/office/officeart/2005/8/layout/orgChart1"/>
    <dgm:cxn modelId="{59FB3963-9D2E-4A84-9B02-C8981E1EC1C1}" type="presParOf" srcId="{F3334448-BB2D-4F85-A7F2-EA6C198482DF}" destId="{2315E9A1-CFAA-450A-882F-CE658D5789B8}" srcOrd="0" destOrd="0" presId="urn:microsoft.com/office/officeart/2005/8/layout/orgChart1"/>
    <dgm:cxn modelId="{42C1191E-6DBF-45AD-928B-EE6B62CA493B}" type="presParOf" srcId="{F3334448-BB2D-4F85-A7F2-EA6C198482DF}" destId="{F6873553-49B0-4F37-91BF-9CE4F05E1A75}" srcOrd="1" destOrd="0" presId="urn:microsoft.com/office/officeart/2005/8/layout/orgChart1"/>
    <dgm:cxn modelId="{2DABEA5E-14D8-4E90-8353-427427EBE842}" type="presParOf" srcId="{DFD67269-3504-452E-B609-4A4E7095B99F}" destId="{47D938DA-1494-49F9-9A37-4FD4E960142E}" srcOrd="1" destOrd="0" presId="urn:microsoft.com/office/officeart/2005/8/layout/orgChart1"/>
    <dgm:cxn modelId="{4101E081-83EB-456A-8ED7-C50153079E6D}" type="presParOf" srcId="{DFD67269-3504-452E-B609-4A4E7095B99F}" destId="{86AF557E-4F9A-4FE6-BB43-A168E5FD779C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0E1B2F0-4A22-47E5-9098-288633BBC04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D4F7164A-9FF1-4F65-82AC-B9F25046820D}">
      <dgm:prSet phldrT="[Text]"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it-IT" sz="1000" b="1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zione del programma Sicuro! P-O </a:t>
          </a:r>
        </a:p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it-IT" sz="10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Thomas Brandt (P-O)</a:t>
          </a:r>
          <a:endParaRPr lang="de-CH" sz="1000" dirty="0">
            <a:solidFill>
              <a:schemeClr val="bg1"/>
            </a:solidFill>
            <a:latin typeface="SBB Light" pitchFamily="2" charset="0"/>
          </a:endParaRPr>
        </a:p>
      </dgm:t>
    </dgm:pt>
    <dgm:pt modelId="{0D276855-C69D-440E-BF19-9F7FB242F22C}" type="parTrans" cxnId="{38640DC1-0BB3-4058-B08C-6E56D95194D2}">
      <dgm:prSet/>
      <dgm:spPr/>
      <dgm:t>
        <a:bodyPr/>
        <a:lstStyle/>
        <a:p>
          <a:endParaRPr lang="de-CH"/>
        </a:p>
      </dgm:t>
    </dgm:pt>
    <dgm:pt modelId="{962CBA58-A06F-419E-B46B-8102F954B567}" type="sibTrans" cxnId="{38640DC1-0BB3-4058-B08C-6E56D95194D2}">
      <dgm:prSet/>
      <dgm:spPr/>
      <dgm:t>
        <a:bodyPr/>
        <a:lstStyle/>
        <a:p>
          <a:endParaRPr lang="de-CH"/>
        </a:p>
      </dgm:t>
    </dgm:pt>
    <dgm:pt modelId="{B38FC32D-7CC4-43AF-9124-DCFA0F4DF293}" type="asst">
      <dgm:prSet phldrT="[Text]"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Amministrazione e reporting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Daniel Novak (P-O-STA)</a:t>
          </a:r>
          <a:endParaRPr lang="de-CH" sz="900" dirty="0">
            <a:latin typeface="SBB Light" pitchFamily="2" charset="0"/>
          </a:endParaRPr>
        </a:p>
      </dgm:t>
    </dgm:pt>
    <dgm:pt modelId="{453A13CE-3AA3-4C9F-B7F7-90265CCFDBB3}" type="parTrans" cxnId="{EBD21DF8-3920-4FAC-94AA-BB760C48F3FF}">
      <dgm:prSet/>
      <dgm:spPr/>
      <dgm:t>
        <a:bodyPr/>
        <a:lstStyle/>
        <a:p>
          <a:endParaRPr lang="de-CH"/>
        </a:p>
      </dgm:t>
    </dgm:pt>
    <dgm:pt modelId="{A9A79CB1-BD10-4FC9-B4A5-33466D736D5B}" type="sibTrans" cxnId="{EBD21DF8-3920-4FAC-94AA-BB760C48F3FF}">
      <dgm:prSet/>
      <dgm:spPr/>
      <dgm:t>
        <a:bodyPr/>
        <a:lstStyle/>
        <a:p>
          <a:endParaRPr lang="de-CH"/>
        </a:p>
      </dgm:t>
    </dgm:pt>
    <dgm:pt modelId="{E6C70B32-CBF9-49A0-AA12-9213BA3C6C7C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Comunicazione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Fritz Sterchi (KOM-P)</a:t>
          </a:r>
        </a:p>
      </dgm:t>
    </dgm:pt>
    <dgm:pt modelId="{57EB8D8D-0B16-46FA-9CE7-8732E2B4A3E7}" type="parTrans" cxnId="{4AF22291-AB4A-4EA0-A54C-80875A7A046D}">
      <dgm:prSet/>
      <dgm:spPr/>
      <dgm:t>
        <a:bodyPr/>
        <a:lstStyle/>
        <a:p>
          <a:endParaRPr lang="de-CH"/>
        </a:p>
      </dgm:t>
    </dgm:pt>
    <dgm:pt modelId="{CE23C833-F71D-4BE5-89FC-FF0979A0B6C5}" type="sibTrans" cxnId="{4AF22291-AB4A-4EA0-A54C-80875A7A046D}">
      <dgm:prSet/>
      <dgm:spPr/>
      <dgm:t>
        <a:bodyPr/>
        <a:lstStyle/>
        <a:p>
          <a:endParaRPr lang="de-CH"/>
        </a:p>
      </dgm:t>
    </dgm:pt>
    <dgm:pt modelId="{E1E42948-A962-4296-ACD0-73911027A8C2}">
      <dgm:prSet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1000" b="1">
              <a:latin typeface="SBB Light"/>
              <a:ea typeface="SBB Light"/>
              <a:cs typeface="SBB Light"/>
              <a:sym typeface="SBB Light"/>
            </a:rPr>
            <a:t>Committente e gestione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1000">
              <a:latin typeface="SBB Light"/>
              <a:ea typeface="SBB Light"/>
              <a:cs typeface="SBB Light"/>
              <a:sym typeface="SBB Light"/>
            </a:rPr>
            <a:t>Andreas Meyer / Toni Häne</a:t>
          </a:r>
        </a:p>
      </dgm:t>
    </dgm:pt>
    <dgm:pt modelId="{8E342320-0A62-4761-86C2-526B290D7E07}" type="parTrans" cxnId="{1C5B5F3A-B043-4162-A527-6DECFCE25578}">
      <dgm:prSet/>
      <dgm:spPr/>
      <dgm:t>
        <a:bodyPr/>
        <a:lstStyle/>
        <a:p>
          <a:endParaRPr lang="de-CH"/>
        </a:p>
      </dgm:t>
    </dgm:pt>
    <dgm:pt modelId="{62EDD7DD-32EA-4B5D-9F73-BB163890D821}" type="sibTrans" cxnId="{1C5B5F3A-B043-4162-A527-6DECFCE25578}">
      <dgm:prSet/>
      <dgm:spPr/>
      <dgm:t>
        <a:bodyPr/>
        <a:lstStyle/>
        <a:p>
          <a:endParaRPr lang="de-CH"/>
        </a:p>
      </dgm:t>
    </dgm:pt>
    <dgm:pt modelId="{A2CB7522-71E6-45BD-8660-5E107472235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 dirty="0">
              <a:latin typeface="SBB Light"/>
              <a:ea typeface="SBB Light"/>
              <a:cs typeface="SBB Light"/>
              <a:sym typeface="SBB Light"/>
            </a:rPr>
            <a:t>Controlli speciali </a:t>
          </a:r>
          <a:r>
            <a:rPr lang="it-IT" sz="700" b="1" dirty="0" smtClean="0">
              <a:latin typeface="SBB Light"/>
              <a:ea typeface="SBB Light"/>
              <a:cs typeface="SBB Light"/>
              <a:sym typeface="SBB Light"/>
            </a:rPr>
            <a:t/>
          </a:r>
          <a:br>
            <a:rPr lang="it-IT" sz="700" b="1" dirty="0" smtClean="0">
              <a:latin typeface="SBB Light"/>
              <a:ea typeface="SBB Light"/>
              <a:cs typeface="SBB Light"/>
              <a:sym typeface="SBB Light"/>
            </a:rPr>
          </a:br>
          <a:r>
            <a:rPr lang="it-IT" sz="700" b="1" dirty="0" smtClean="0">
              <a:latin typeface="SBB Light"/>
              <a:ea typeface="SBB Light"/>
              <a:cs typeface="SBB Light"/>
              <a:sym typeface="SBB Light"/>
            </a:rPr>
            <a:t>CU </a:t>
          </a:r>
          <a:r>
            <a:rPr lang="it-IT" sz="700" b="1" dirty="0">
              <a:latin typeface="SBB Light"/>
              <a:ea typeface="SBB Light"/>
              <a:cs typeface="SBB Light"/>
              <a:sym typeface="SBB Light"/>
            </a:rPr>
            <a:t>IV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 dirty="0">
              <a:latin typeface="SBB Light"/>
              <a:ea typeface="SBB Light"/>
              <a:cs typeface="SBB Light"/>
              <a:sym typeface="SBB Light"/>
            </a:rPr>
            <a:t>Roland </a:t>
          </a:r>
          <a:r>
            <a:rPr lang="it-IT" sz="700" dirty="0" err="1">
              <a:latin typeface="SBB Light"/>
              <a:ea typeface="SBB Light"/>
              <a:cs typeface="SBB Light"/>
              <a:sym typeface="SBB Light"/>
            </a:rPr>
            <a:t>Alder</a:t>
          </a:r>
          <a:r>
            <a:rPr lang="it-IT" sz="700" dirty="0">
              <a:latin typeface="SBB Light"/>
              <a:ea typeface="SBB Light"/>
              <a:cs typeface="SBB Light"/>
              <a:sym typeface="SBB Light"/>
            </a:rPr>
            <a:t>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 dirty="0">
              <a:latin typeface="SBB Light"/>
              <a:ea typeface="SBB Light"/>
              <a:cs typeface="SBB Light"/>
              <a:sym typeface="SBB Light"/>
            </a:rPr>
            <a:t>(P-O-</a:t>
          </a:r>
          <a:r>
            <a:rPr lang="it-IT" sz="700" dirty="0" err="1">
              <a:latin typeface="SBB Light"/>
              <a:ea typeface="SBB Light"/>
              <a:cs typeface="SBB Light"/>
              <a:sym typeface="SBB Light"/>
            </a:rPr>
            <a:t>UHR</a:t>
          </a:r>
          <a:r>
            <a:rPr lang="it-IT" sz="700" dirty="0">
              <a:latin typeface="SBB Light"/>
              <a:ea typeface="SBB Light"/>
              <a:cs typeface="SBB Light"/>
              <a:sym typeface="SBB Light"/>
            </a:rPr>
            <a:t>-SAN)</a:t>
          </a:r>
        </a:p>
      </dgm:t>
    </dgm:pt>
    <dgm:pt modelId="{E1E87211-51ED-4321-B927-32FF55324BCA}" type="parTrans" cxnId="{404F5B29-E2A1-465B-B1F2-F11C3E9D826B}">
      <dgm:prSet/>
      <dgm:spPr/>
      <dgm:t>
        <a:bodyPr/>
        <a:lstStyle/>
        <a:p>
          <a:endParaRPr lang="de-CH"/>
        </a:p>
      </dgm:t>
    </dgm:pt>
    <dgm:pt modelId="{D4EBC951-578D-4AD9-B4CA-1A0BEE494119}" type="sibTrans" cxnId="{404F5B29-E2A1-465B-B1F2-F11C3E9D826B}">
      <dgm:prSet/>
      <dgm:spPr/>
      <dgm:t>
        <a:bodyPr/>
        <a:lstStyle/>
        <a:p>
          <a:endParaRPr lang="de-CH"/>
        </a:p>
      </dgm:t>
    </dgm:pt>
    <dgm:pt modelId="{657DDBB0-B232-4194-9F3D-5CC51B33E0AF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>
              <a:latin typeface="SBB Light"/>
              <a:ea typeface="SBB Light"/>
              <a:cs typeface="SBB Light"/>
              <a:sym typeface="SBB Light"/>
            </a:rPr>
            <a:t>Rinnovo sistema porte CU IV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Martin Hes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(P-O-AM-FT)</a:t>
          </a:r>
        </a:p>
      </dgm:t>
    </dgm:pt>
    <dgm:pt modelId="{F4D9181E-205E-464C-9BC7-95DE1A2BA8D5}" type="parTrans" cxnId="{5D8E3CA3-B95B-4AD7-8CC3-F97E5F604195}">
      <dgm:prSet/>
      <dgm:spPr/>
      <dgm:t>
        <a:bodyPr/>
        <a:lstStyle/>
        <a:p>
          <a:endParaRPr lang="de-CH"/>
        </a:p>
      </dgm:t>
    </dgm:pt>
    <dgm:pt modelId="{07FC1750-C363-4F39-B2E4-85600BD28228}" type="sibTrans" cxnId="{5D8E3CA3-B95B-4AD7-8CC3-F97E5F604195}">
      <dgm:prSet/>
      <dgm:spPr/>
      <dgm:t>
        <a:bodyPr/>
        <a:lstStyle/>
        <a:p>
          <a:endParaRPr lang="de-CH"/>
        </a:p>
      </dgm:t>
    </dgm:pt>
    <dgm:pt modelId="{85861E5F-C30E-4A16-8BC6-C9614552F67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>
              <a:latin typeface="SBB Light"/>
              <a:ea typeface="SBB Light"/>
              <a:cs typeface="SBB Light"/>
              <a:sym typeface="SBB Light"/>
            </a:rPr>
            <a:t>Circuito parallelo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Martin Hes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(P-O-AM-FT)</a:t>
          </a:r>
          <a:endParaRPr lang="de-CH" sz="700" b="1" dirty="0">
            <a:latin typeface="SBB Light" pitchFamily="2" charset="0"/>
          </a:endParaRPr>
        </a:p>
      </dgm:t>
    </dgm:pt>
    <dgm:pt modelId="{CA0406F1-12F9-4404-A7A5-712E89F79CB5}" type="parTrans" cxnId="{4C5B212D-3C03-4814-953F-25E6BC8A7655}">
      <dgm:prSet/>
      <dgm:spPr/>
      <dgm:t>
        <a:bodyPr/>
        <a:lstStyle/>
        <a:p>
          <a:endParaRPr lang="de-CH"/>
        </a:p>
      </dgm:t>
    </dgm:pt>
    <dgm:pt modelId="{A8F1A468-280D-46A5-8CF4-CAF69197C5FA}" type="sibTrans" cxnId="{4C5B212D-3C03-4814-953F-25E6BC8A7655}">
      <dgm:prSet/>
      <dgm:spPr/>
      <dgm:t>
        <a:bodyPr/>
        <a:lstStyle/>
        <a:p>
          <a:endParaRPr lang="de-CH"/>
        </a:p>
      </dgm:t>
    </dgm:pt>
    <dgm:pt modelId="{F81E21DA-FD6E-4C6D-9C53-8BA0BD4A254D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>
              <a:latin typeface="SBB Light"/>
              <a:ea typeface="SBB Light"/>
              <a:cs typeface="SBB Light"/>
              <a:sym typeface="SBB Light"/>
            </a:rPr>
            <a:t>Verifica misur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>
              <a:latin typeface="SBB Light"/>
              <a:ea typeface="SBB Light"/>
              <a:cs typeface="SBB Light"/>
              <a:sym typeface="SBB Light"/>
            </a:rPr>
            <a:t>operative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Roger Kessl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(P-O-SQU-SIM)</a:t>
          </a:r>
        </a:p>
      </dgm:t>
    </dgm:pt>
    <dgm:pt modelId="{EC53749C-46C7-488D-AA63-655AFD2389C5}" type="parTrans" cxnId="{CEA687AB-65E9-4D5E-B521-211EE28FD4F3}">
      <dgm:prSet/>
      <dgm:spPr/>
      <dgm:t>
        <a:bodyPr/>
        <a:lstStyle/>
        <a:p>
          <a:endParaRPr lang="de-CH"/>
        </a:p>
      </dgm:t>
    </dgm:pt>
    <dgm:pt modelId="{4805F6C9-A875-434F-980D-8970E6E2DD6B}" type="sibTrans" cxnId="{CEA687AB-65E9-4D5E-B521-211EE28FD4F3}">
      <dgm:prSet/>
      <dgm:spPr/>
      <dgm:t>
        <a:bodyPr/>
        <a:lstStyle/>
        <a:p>
          <a:endParaRPr lang="de-CH"/>
        </a:p>
      </dgm:t>
    </dgm:pt>
    <dgm:pt modelId="{3A40DFC6-CEB8-49A2-8A08-61F2AC6F453F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 dirty="0">
              <a:latin typeface="SBB Light"/>
              <a:ea typeface="SBB Light"/>
              <a:cs typeface="SBB Light"/>
              <a:sym typeface="SBB Light"/>
            </a:rPr>
            <a:t>Controllo e ulteriore sviluppo processo di autorizzazione partenza tren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 dirty="0">
              <a:latin typeface="SBB Light"/>
              <a:ea typeface="SBB Light"/>
              <a:cs typeface="SBB Light"/>
              <a:sym typeface="SBB Light"/>
            </a:rPr>
            <a:t>Reto </a:t>
          </a:r>
          <a:r>
            <a:rPr lang="it-IT" sz="700" dirty="0" err="1">
              <a:latin typeface="SBB Light"/>
              <a:ea typeface="SBB Light"/>
              <a:cs typeface="SBB Light"/>
              <a:sym typeface="SBB Light"/>
            </a:rPr>
            <a:t>Liechti</a:t>
          </a:r>
          <a:endParaRPr lang="it-IT" sz="700" dirty="0">
            <a:latin typeface="SBB Light"/>
            <a:ea typeface="SBB Light"/>
            <a:cs typeface="SBB Light"/>
            <a:sym typeface="SBB Light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 dirty="0">
              <a:latin typeface="SBB Light"/>
              <a:ea typeface="SBB Light"/>
              <a:cs typeface="SBB Light"/>
              <a:sym typeface="SBB Light"/>
            </a:rPr>
            <a:t>(P-O-BP-KBC)</a:t>
          </a:r>
        </a:p>
      </dgm:t>
    </dgm:pt>
    <dgm:pt modelId="{49936F48-8DD0-493E-85C9-D0AFBA68A87B}" type="parTrans" cxnId="{1F7C51E2-BBC9-4B8E-B1C0-6CF750EEF662}">
      <dgm:prSet/>
      <dgm:spPr/>
      <dgm:t>
        <a:bodyPr/>
        <a:lstStyle/>
        <a:p>
          <a:endParaRPr lang="de-CH"/>
        </a:p>
      </dgm:t>
    </dgm:pt>
    <dgm:pt modelId="{E5952D7E-7917-4B83-A4E3-0367D08CEC3E}" type="sibTrans" cxnId="{1F7C51E2-BBC9-4B8E-B1C0-6CF750EEF662}">
      <dgm:prSet/>
      <dgm:spPr/>
      <dgm:t>
        <a:bodyPr/>
        <a:lstStyle/>
        <a:p>
          <a:endParaRPr lang="de-CH"/>
        </a:p>
      </dgm:t>
    </dgm:pt>
    <dgm:pt modelId="{59E21C72-2D75-4B59-825F-E4B705871538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 dirty="0">
              <a:latin typeface="SBB Light"/>
              <a:ea typeface="SBB Light"/>
              <a:cs typeface="SBB Light"/>
              <a:sym typeface="SBB Light"/>
            </a:rPr>
            <a:t>Adeguamento processi e contenuti di manutenzione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it-IT" sz="700" dirty="0">
            <a:latin typeface="SBB Light"/>
            <a:ea typeface="SBB Light"/>
            <a:cs typeface="SBB Light"/>
            <a:sym typeface="SBB Light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 dirty="0">
              <a:latin typeface="SBB Light"/>
              <a:ea typeface="SBB Light"/>
              <a:cs typeface="SBB Light"/>
              <a:sym typeface="SBB Light"/>
            </a:rPr>
            <a:t>Ferruccio Bianch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 dirty="0">
              <a:latin typeface="SBB Light"/>
              <a:ea typeface="SBB Light"/>
              <a:cs typeface="SBB Light"/>
              <a:sym typeface="SBB Light"/>
            </a:rPr>
            <a:t>(P-O-AM)</a:t>
          </a:r>
        </a:p>
      </dgm:t>
    </dgm:pt>
    <dgm:pt modelId="{57E2656F-B0F0-4934-B9F0-BEF0BDA7831B}" type="parTrans" cxnId="{556DE6BE-C83D-4063-A9EF-9F8DA95BA4F6}">
      <dgm:prSet/>
      <dgm:spPr/>
      <dgm:t>
        <a:bodyPr/>
        <a:lstStyle/>
        <a:p>
          <a:endParaRPr lang="de-CH"/>
        </a:p>
      </dgm:t>
    </dgm:pt>
    <dgm:pt modelId="{ADDEB8D9-25FB-4FCB-9CA1-9FC0CCFA6558}" type="sibTrans" cxnId="{556DE6BE-C83D-4063-A9EF-9F8DA95BA4F6}">
      <dgm:prSet/>
      <dgm:spPr/>
      <dgm:t>
        <a:bodyPr/>
        <a:lstStyle/>
        <a:p>
          <a:endParaRPr lang="de-CH"/>
        </a:p>
      </dgm:t>
    </dgm:pt>
    <dgm:pt modelId="{1CBE497A-7B05-4572-9238-A69A48D5AD9E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>
              <a:latin typeface="SBB Light"/>
              <a:ea typeface="SBB Light"/>
              <a:cs typeface="SBB Light"/>
              <a:sym typeface="SBB Light"/>
            </a:rPr>
            <a:t>Controlli speciali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>
              <a:latin typeface="SBB Light"/>
              <a:ea typeface="SBB Light"/>
              <a:cs typeface="SBB Light"/>
              <a:sym typeface="SBB Light"/>
            </a:rPr>
            <a:t>EC/Bt4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Roland Ald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(P-O-UHR-SAN)</a:t>
          </a:r>
        </a:p>
      </dgm:t>
    </dgm:pt>
    <dgm:pt modelId="{04F33FD6-897F-4277-AECC-4314F4397BDA}" type="parTrans" cxnId="{B5108135-26D1-486A-9230-30F6470BFBC1}">
      <dgm:prSet/>
      <dgm:spPr/>
      <dgm:t>
        <a:bodyPr/>
        <a:lstStyle/>
        <a:p>
          <a:endParaRPr lang="de-CH"/>
        </a:p>
      </dgm:t>
    </dgm:pt>
    <dgm:pt modelId="{9FF78050-7868-4C8E-8A46-8742C6788EBF}" type="sibTrans" cxnId="{B5108135-26D1-486A-9230-30F6470BFBC1}">
      <dgm:prSet/>
      <dgm:spPr/>
      <dgm:t>
        <a:bodyPr/>
        <a:lstStyle/>
        <a:p>
          <a:endParaRPr lang="de-CH"/>
        </a:p>
      </dgm:t>
    </dgm:pt>
    <dgm:pt modelId="{AF8AC138-CD7D-4835-AF71-CA3CEA42175C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>
              <a:latin typeface="SBB Light"/>
              <a:ea typeface="SBB Light"/>
              <a:cs typeface="SBB Light"/>
              <a:sym typeface="SBB Light"/>
            </a:rPr>
            <a:t>Audit esterno, organizzazione e processi di manutenzion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André Jenn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(P-O-SQU-QM) </a:t>
          </a:r>
        </a:p>
      </dgm:t>
    </dgm:pt>
    <dgm:pt modelId="{DA74DD71-0732-40AE-90A6-B26135744E0F}" type="parTrans" cxnId="{32CF593D-C83F-4F07-99BE-0F66986159CD}">
      <dgm:prSet/>
      <dgm:spPr/>
      <dgm:t>
        <a:bodyPr/>
        <a:lstStyle/>
        <a:p>
          <a:endParaRPr lang="de-CH"/>
        </a:p>
      </dgm:t>
    </dgm:pt>
    <dgm:pt modelId="{2C553EF5-941D-4525-87F0-A06AFCCFE2AD}" type="sibTrans" cxnId="{32CF593D-C83F-4F07-99BE-0F66986159CD}">
      <dgm:prSet/>
      <dgm:spPr/>
      <dgm:t>
        <a:bodyPr/>
        <a:lstStyle/>
        <a:p>
          <a:endParaRPr lang="de-CH"/>
        </a:p>
      </dgm:t>
    </dgm:pt>
    <dgm:pt modelId="{3F7EB55B-D8D2-4616-AB55-F43C4319692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>
              <a:latin typeface="SBB Light"/>
              <a:ea typeface="SBB Light"/>
              <a:cs typeface="SBB Light"/>
              <a:sym typeface="SBB Light"/>
            </a:rPr>
            <a:t>Audit flotta</a:t>
          </a: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Ferruccio Bianch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(P-O-AM)</a:t>
          </a:r>
        </a:p>
      </dgm:t>
    </dgm:pt>
    <dgm:pt modelId="{68373D1D-4601-4977-86D5-94966BFAD2C6}" type="parTrans" cxnId="{11DD8D0F-F950-4731-91CD-42052CCD5692}">
      <dgm:prSet/>
      <dgm:spPr/>
      <dgm:t>
        <a:bodyPr/>
        <a:lstStyle/>
        <a:p>
          <a:endParaRPr lang="de-CH"/>
        </a:p>
      </dgm:t>
    </dgm:pt>
    <dgm:pt modelId="{1E6293A0-1EE1-4B22-8C6C-DF4E012168B2}" type="sibTrans" cxnId="{11DD8D0F-F950-4731-91CD-42052CCD5692}">
      <dgm:prSet/>
      <dgm:spPr/>
      <dgm:t>
        <a:bodyPr/>
        <a:lstStyle/>
        <a:p>
          <a:endParaRPr lang="de-CH"/>
        </a:p>
      </dgm:t>
    </dgm:pt>
    <dgm:pt modelId="{F025B426-D849-4AAB-9D97-3E7CAE694742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700" b="1">
              <a:latin typeface="SBB Light"/>
              <a:ea typeface="SBB Light"/>
              <a:cs typeface="SBB Light"/>
              <a:sym typeface="SBB Light"/>
            </a:rPr>
            <a:t>Verifica strategia di manutenzione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Christine Mai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700">
              <a:latin typeface="SBB Light"/>
              <a:ea typeface="SBB Light"/>
              <a:cs typeface="SBB Light"/>
              <a:sym typeface="SBB Light"/>
            </a:rPr>
            <a:t>(P-O-GET)</a:t>
          </a:r>
        </a:p>
      </dgm:t>
    </dgm:pt>
    <dgm:pt modelId="{111624A8-D334-4DB0-8E6B-C592093EF977}" type="parTrans" cxnId="{B58068BE-DA53-4DB6-B6D8-7460D222B2F4}">
      <dgm:prSet/>
      <dgm:spPr/>
      <dgm:t>
        <a:bodyPr/>
        <a:lstStyle/>
        <a:p>
          <a:endParaRPr lang="de-CH"/>
        </a:p>
      </dgm:t>
    </dgm:pt>
    <dgm:pt modelId="{53FF20C0-8251-4740-9F6C-A1D47BAE4AD4}" type="sibTrans" cxnId="{B58068BE-DA53-4DB6-B6D8-7460D222B2F4}">
      <dgm:prSet/>
      <dgm:spPr/>
      <dgm:t>
        <a:bodyPr/>
        <a:lstStyle/>
        <a:p>
          <a:endParaRPr lang="de-CH"/>
        </a:p>
      </dgm:t>
    </dgm:pt>
    <dgm:pt modelId="{E9801196-6D03-48AB-B988-68FF40EDD9E3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Parti social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Seraina Lang (P-HR-FU)</a:t>
          </a:r>
        </a:p>
      </dgm:t>
    </dgm:pt>
    <dgm:pt modelId="{38F2A94C-DA89-4D87-B65E-E804A4874A9B}" type="parTrans" cxnId="{B62938A1-CF7C-4AE9-9BC9-854DD3A775F7}">
      <dgm:prSet/>
      <dgm:spPr/>
      <dgm:t>
        <a:bodyPr/>
        <a:lstStyle/>
        <a:p>
          <a:endParaRPr lang="de-CH"/>
        </a:p>
      </dgm:t>
    </dgm:pt>
    <dgm:pt modelId="{90A59A97-2839-4CCD-AABD-2F2AB6C7F1FE}" type="sibTrans" cxnId="{B62938A1-CF7C-4AE9-9BC9-854DD3A775F7}">
      <dgm:prSet/>
      <dgm:spPr/>
      <dgm:t>
        <a:bodyPr/>
        <a:lstStyle/>
        <a:p>
          <a:endParaRPr lang="de-CH"/>
        </a:p>
      </dgm:t>
    </dgm:pt>
    <dgm:pt modelId="{3F9D6342-B5A7-49AB-B511-C63B700C30AA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Finanz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Philippe Wäber (P-F-O)</a:t>
          </a:r>
        </a:p>
      </dgm:t>
    </dgm:pt>
    <dgm:pt modelId="{D816F4A7-CC30-4C25-874D-5475F3B5FB08}" type="parTrans" cxnId="{5D853B19-2DEB-490F-87D4-A455C9209D7E}">
      <dgm:prSet/>
      <dgm:spPr/>
      <dgm:t>
        <a:bodyPr/>
        <a:lstStyle/>
        <a:p>
          <a:endParaRPr lang="de-CH"/>
        </a:p>
      </dgm:t>
    </dgm:pt>
    <dgm:pt modelId="{F398ECED-480B-4B4C-B8EC-473FE9F5DF48}" type="sibTrans" cxnId="{5D853B19-2DEB-490F-87D4-A455C9209D7E}">
      <dgm:prSet/>
      <dgm:spPr/>
      <dgm:t>
        <a:bodyPr/>
        <a:lstStyle/>
        <a:p>
          <a:endParaRPr lang="de-CH"/>
        </a:p>
      </dgm:t>
    </dgm:pt>
    <dgm:pt modelId="{E486C7BC-A226-4908-AA8C-322269C38028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1</a:t>
          </a:r>
        </a:p>
      </dgm:t>
    </dgm:pt>
    <dgm:pt modelId="{5960AC1E-504F-43F6-8112-A10D0F41E60B}" type="parTrans" cxnId="{ECFEF685-FF19-418E-A2A1-53935F2E0C0B}">
      <dgm:prSet/>
      <dgm:spPr/>
      <dgm:t>
        <a:bodyPr/>
        <a:lstStyle/>
        <a:p>
          <a:endParaRPr lang="de-CH"/>
        </a:p>
      </dgm:t>
    </dgm:pt>
    <dgm:pt modelId="{C28AB5EB-F310-410A-B275-DF8B30C62AD3}" type="sibTrans" cxnId="{ECFEF685-FF19-418E-A2A1-53935F2E0C0B}">
      <dgm:prSet/>
      <dgm:spPr/>
      <dgm:t>
        <a:bodyPr/>
        <a:lstStyle/>
        <a:p>
          <a:endParaRPr lang="de-CH"/>
        </a:p>
      </dgm:t>
    </dgm:pt>
    <dgm:pt modelId="{5FFC46F6-3E71-42D9-BE0C-66E3AA717C4F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2 + 3</a:t>
          </a:r>
        </a:p>
      </dgm:t>
    </dgm:pt>
    <dgm:pt modelId="{0D243537-92B1-4939-AE94-7EDCF042C9F7}" type="parTrans" cxnId="{E08D9F43-4BEB-499C-BA40-BBF1215A59CA}">
      <dgm:prSet/>
      <dgm:spPr/>
      <dgm:t>
        <a:bodyPr/>
        <a:lstStyle/>
        <a:p>
          <a:endParaRPr lang="de-CH"/>
        </a:p>
      </dgm:t>
    </dgm:pt>
    <dgm:pt modelId="{9D42F803-CED7-41F9-A34F-1BC662B29CF9}" type="sibTrans" cxnId="{E08D9F43-4BEB-499C-BA40-BBF1215A59CA}">
      <dgm:prSet/>
      <dgm:spPr/>
      <dgm:t>
        <a:bodyPr/>
        <a:lstStyle/>
        <a:p>
          <a:endParaRPr lang="de-CH"/>
        </a:p>
      </dgm:t>
    </dgm:pt>
    <dgm:pt modelId="{483565DB-47EA-4227-86FC-092B66FAFB9E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4</a:t>
          </a:r>
        </a:p>
      </dgm:t>
    </dgm:pt>
    <dgm:pt modelId="{90718E9B-D169-4073-BD0E-5B41BA3032AD}" type="parTrans" cxnId="{F7ADEEC2-D671-4FB7-B3C2-6B8858D24C8F}">
      <dgm:prSet/>
      <dgm:spPr/>
      <dgm:t>
        <a:bodyPr/>
        <a:lstStyle/>
        <a:p>
          <a:endParaRPr lang="de-CH"/>
        </a:p>
      </dgm:t>
    </dgm:pt>
    <dgm:pt modelId="{8852DD38-8352-4D71-927F-EA520D3958FA}" type="sibTrans" cxnId="{F7ADEEC2-D671-4FB7-B3C2-6B8858D24C8F}">
      <dgm:prSet/>
      <dgm:spPr/>
      <dgm:t>
        <a:bodyPr/>
        <a:lstStyle/>
        <a:p>
          <a:endParaRPr lang="de-CH"/>
        </a:p>
      </dgm:t>
    </dgm:pt>
    <dgm:pt modelId="{1901BCD9-3251-477B-88A0-9A8AED30AFE0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5</a:t>
          </a:r>
        </a:p>
      </dgm:t>
    </dgm:pt>
    <dgm:pt modelId="{140717A6-7A7E-4078-ABC0-69623BEAC1F6}" type="parTrans" cxnId="{C1965978-1B38-4AD3-825D-77D8FB71BBF4}">
      <dgm:prSet/>
      <dgm:spPr/>
      <dgm:t>
        <a:bodyPr/>
        <a:lstStyle/>
        <a:p>
          <a:endParaRPr lang="de-CH"/>
        </a:p>
      </dgm:t>
    </dgm:pt>
    <dgm:pt modelId="{56FA4343-5CE1-4CB3-8826-3E2F71A2DE3D}" type="sibTrans" cxnId="{C1965978-1B38-4AD3-825D-77D8FB71BBF4}">
      <dgm:prSet/>
      <dgm:spPr/>
      <dgm:t>
        <a:bodyPr/>
        <a:lstStyle/>
        <a:p>
          <a:endParaRPr lang="de-CH"/>
        </a:p>
      </dgm:t>
    </dgm:pt>
    <dgm:pt modelId="{D4F561AE-AE9B-4801-A294-6F70D893C01B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6</a:t>
          </a:r>
        </a:p>
      </dgm:t>
    </dgm:pt>
    <dgm:pt modelId="{22222F70-B26E-4775-8A77-BAF70CD68F9D}" type="parTrans" cxnId="{78282317-6EA9-4AE9-A1C9-7565E088EDC2}">
      <dgm:prSet/>
      <dgm:spPr/>
      <dgm:t>
        <a:bodyPr/>
        <a:lstStyle/>
        <a:p>
          <a:endParaRPr lang="de-CH"/>
        </a:p>
      </dgm:t>
    </dgm:pt>
    <dgm:pt modelId="{5B2428FB-3654-4150-9FB1-AB741903D74D}" type="sibTrans" cxnId="{78282317-6EA9-4AE9-A1C9-7565E088EDC2}">
      <dgm:prSet/>
      <dgm:spPr/>
      <dgm:t>
        <a:bodyPr/>
        <a:lstStyle/>
        <a:p>
          <a:endParaRPr lang="de-CH"/>
        </a:p>
      </dgm:t>
    </dgm:pt>
    <dgm:pt modelId="{354C242F-C8DB-4405-8945-6FD36470198A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7</a:t>
          </a:r>
        </a:p>
      </dgm:t>
    </dgm:pt>
    <dgm:pt modelId="{CD116555-1465-4323-9676-8264DF6ACBD0}" type="parTrans" cxnId="{F7BE5268-7B20-4113-96D9-8A548A23BAD0}">
      <dgm:prSet/>
      <dgm:spPr/>
      <dgm:t>
        <a:bodyPr/>
        <a:lstStyle/>
        <a:p>
          <a:endParaRPr lang="de-CH"/>
        </a:p>
      </dgm:t>
    </dgm:pt>
    <dgm:pt modelId="{C5EBA818-2221-460F-9098-D108DC8C9243}" type="sibTrans" cxnId="{F7BE5268-7B20-4113-96D9-8A548A23BAD0}">
      <dgm:prSet/>
      <dgm:spPr/>
      <dgm:t>
        <a:bodyPr/>
        <a:lstStyle/>
        <a:p>
          <a:endParaRPr lang="de-CH"/>
        </a:p>
      </dgm:t>
    </dgm:pt>
    <dgm:pt modelId="{A2CAC21C-D384-4D5E-9C90-5DA22A5E2D02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8</a:t>
          </a:r>
        </a:p>
      </dgm:t>
    </dgm:pt>
    <dgm:pt modelId="{A8458212-D3CC-4720-A439-22475D5DDFAE}" type="parTrans" cxnId="{BD05F986-20D6-4EAF-A4E6-6307D1DFBA38}">
      <dgm:prSet/>
      <dgm:spPr/>
      <dgm:t>
        <a:bodyPr/>
        <a:lstStyle/>
        <a:p>
          <a:endParaRPr lang="de-CH"/>
        </a:p>
      </dgm:t>
    </dgm:pt>
    <dgm:pt modelId="{C5EAC679-09A0-48B1-8F5C-34C797F1C587}" type="sibTrans" cxnId="{BD05F986-20D6-4EAF-A4E6-6307D1DFBA38}">
      <dgm:prSet/>
      <dgm:spPr/>
      <dgm:t>
        <a:bodyPr/>
        <a:lstStyle/>
        <a:p>
          <a:endParaRPr lang="de-CH"/>
        </a:p>
      </dgm:t>
    </dgm:pt>
    <dgm:pt modelId="{A2015D57-E9D0-42EE-919D-ECB2AFBDDD2A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9</a:t>
          </a:r>
        </a:p>
      </dgm:t>
    </dgm:pt>
    <dgm:pt modelId="{F31D1F19-D0F6-4E46-A5D6-BA4A28EEC0AD}" type="parTrans" cxnId="{4157CF8F-E156-419B-967C-01A62E7B29EA}">
      <dgm:prSet/>
      <dgm:spPr/>
      <dgm:t>
        <a:bodyPr/>
        <a:lstStyle/>
        <a:p>
          <a:endParaRPr lang="de-CH"/>
        </a:p>
      </dgm:t>
    </dgm:pt>
    <dgm:pt modelId="{1C33D129-9E8F-4F55-BB01-A9F786512EA4}" type="sibTrans" cxnId="{4157CF8F-E156-419B-967C-01A62E7B29EA}">
      <dgm:prSet/>
      <dgm:spPr/>
      <dgm:t>
        <a:bodyPr/>
        <a:lstStyle/>
        <a:p>
          <a:endParaRPr lang="de-CH"/>
        </a:p>
      </dgm:t>
    </dgm:pt>
    <dgm:pt modelId="{ACDB817B-F3A5-4161-A100-2C1D5F463354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10</a:t>
          </a:r>
        </a:p>
      </dgm:t>
    </dgm:pt>
    <dgm:pt modelId="{3B1630F2-F49D-47D8-8816-DD887C006686}" type="parTrans" cxnId="{E5FFAC8B-4594-43FE-A46F-1862F7AB64F2}">
      <dgm:prSet/>
      <dgm:spPr/>
      <dgm:t>
        <a:bodyPr/>
        <a:lstStyle/>
        <a:p>
          <a:endParaRPr lang="de-CH"/>
        </a:p>
      </dgm:t>
    </dgm:pt>
    <dgm:pt modelId="{56031FD0-B6AC-4E07-9117-91DE6943DCAB}" type="sibTrans" cxnId="{E5FFAC8B-4594-43FE-A46F-1862F7AB64F2}">
      <dgm:prSet/>
      <dgm:spPr/>
      <dgm:t>
        <a:bodyPr/>
        <a:lstStyle/>
        <a:p>
          <a:endParaRPr lang="de-CH"/>
        </a:p>
      </dgm:t>
    </dgm:pt>
    <dgm:pt modelId="{433B7CA0-D2C6-4DB5-B0A0-17F1FFC0F208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14</a:t>
          </a:r>
        </a:p>
      </dgm:t>
    </dgm:pt>
    <dgm:pt modelId="{8A00F92C-DA4D-49F2-8792-83558C78879C}" type="parTrans" cxnId="{1AEF227A-7594-4B5C-91D4-FD2AD7A0C8BB}">
      <dgm:prSet/>
      <dgm:spPr/>
      <dgm:t>
        <a:bodyPr/>
        <a:lstStyle/>
        <a:p>
          <a:endParaRPr lang="de-CH"/>
        </a:p>
      </dgm:t>
    </dgm:pt>
    <dgm:pt modelId="{51E8074C-7A77-4334-8B7C-0064A16817F1}" type="sibTrans" cxnId="{1AEF227A-7594-4B5C-91D4-FD2AD7A0C8BB}">
      <dgm:prSet/>
      <dgm:spPr/>
      <dgm:t>
        <a:bodyPr/>
        <a:lstStyle/>
        <a:p>
          <a:endParaRPr lang="de-CH"/>
        </a:p>
      </dgm:t>
    </dgm:pt>
    <dgm:pt modelId="{9E4D289C-8366-4266-BE1C-FAD71A417349}" type="pres">
      <dgm:prSet presAssocID="{50E1B2F0-4A22-47E5-9098-288633BBC04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11225A69-476A-48D5-8BD3-B796A30A35FB}" type="pres">
      <dgm:prSet presAssocID="{E1E42948-A962-4296-ACD0-73911027A8C2}" presName="hierRoot1" presStyleCnt="0">
        <dgm:presLayoutVars>
          <dgm:hierBranch val="init"/>
        </dgm:presLayoutVars>
      </dgm:prSet>
      <dgm:spPr/>
    </dgm:pt>
    <dgm:pt modelId="{B9A3CB7B-DCD5-4BBB-822A-2F73016375B0}" type="pres">
      <dgm:prSet presAssocID="{E1E42948-A962-4296-ACD0-73911027A8C2}" presName="rootComposite1" presStyleCnt="0"/>
      <dgm:spPr/>
    </dgm:pt>
    <dgm:pt modelId="{6901B29F-5C4C-441E-8C99-96265A226EF6}" type="pres">
      <dgm:prSet presAssocID="{E1E42948-A962-4296-ACD0-73911027A8C2}" presName="rootText1" presStyleLbl="node0" presStyleIdx="0" presStyleCnt="1" custScaleX="402057" custScaleY="148910" custLinFactY="-100000" custLinFactNeighborX="-7427" custLinFactNeighborY="-12525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8A3E3D3-48F4-408C-9B3F-08699C1B7736}" type="pres">
      <dgm:prSet presAssocID="{E1E42948-A962-4296-ACD0-73911027A8C2}" presName="rootConnector1" presStyleLbl="node1" presStyleIdx="0" presStyleCnt="0"/>
      <dgm:spPr/>
      <dgm:t>
        <a:bodyPr/>
        <a:lstStyle/>
        <a:p>
          <a:endParaRPr lang="de-DE"/>
        </a:p>
      </dgm:t>
    </dgm:pt>
    <dgm:pt modelId="{25C5EB76-18ED-4F96-A046-5666D3B983EE}" type="pres">
      <dgm:prSet presAssocID="{E1E42948-A962-4296-ACD0-73911027A8C2}" presName="hierChild2" presStyleCnt="0"/>
      <dgm:spPr/>
    </dgm:pt>
    <dgm:pt modelId="{67C4F6B6-3394-41B7-8B0E-F80DFCBD19DB}" type="pres">
      <dgm:prSet presAssocID="{0D276855-C69D-440E-BF19-9F7FB242F22C}" presName="Name37" presStyleLbl="parChTrans1D2" presStyleIdx="0" presStyleCnt="1"/>
      <dgm:spPr/>
      <dgm:t>
        <a:bodyPr/>
        <a:lstStyle/>
        <a:p>
          <a:endParaRPr lang="de-DE"/>
        </a:p>
      </dgm:t>
    </dgm:pt>
    <dgm:pt modelId="{53562A46-3A6F-48C1-8B86-0666ECC1CCC6}" type="pres">
      <dgm:prSet presAssocID="{D4F7164A-9FF1-4F65-82AC-B9F25046820D}" presName="hierRoot2" presStyleCnt="0">
        <dgm:presLayoutVars>
          <dgm:hierBranch/>
        </dgm:presLayoutVars>
      </dgm:prSet>
      <dgm:spPr/>
    </dgm:pt>
    <dgm:pt modelId="{22F3B5E6-8312-479D-8469-8FF17BF963BE}" type="pres">
      <dgm:prSet presAssocID="{D4F7164A-9FF1-4F65-82AC-B9F25046820D}" presName="rootComposite" presStyleCnt="0"/>
      <dgm:spPr/>
    </dgm:pt>
    <dgm:pt modelId="{29C069AF-0F32-4313-A944-D801ABD5C11A}" type="pres">
      <dgm:prSet presAssocID="{D4F7164A-9FF1-4F65-82AC-B9F25046820D}" presName="rootText" presStyleLbl="node2" presStyleIdx="0" presStyleCnt="1" custScaleX="347457" custScaleY="148910" custLinFactY="-60076" custLinFactNeighborX="-7427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8D4351F-B03C-4F5E-828A-08731C325D0C}" type="pres">
      <dgm:prSet presAssocID="{D4F7164A-9FF1-4F65-82AC-B9F25046820D}" presName="rootConnector" presStyleLbl="node2" presStyleIdx="0" presStyleCnt="1"/>
      <dgm:spPr/>
      <dgm:t>
        <a:bodyPr/>
        <a:lstStyle/>
        <a:p>
          <a:endParaRPr lang="de-DE"/>
        </a:p>
      </dgm:t>
    </dgm:pt>
    <dgm:pt modelId="{7C9B22A8-D66C-4D09-9002-4CF5399A51BE}" type="pres">
      <dgm:prSet presAssocID="{D4F7164A-9FF1-4F65-82AC-B9F25046820D}" presName="hierChild4" presStyleCnt="0"/>
      <dgm:spPr/>
    </dgm:pt>
    <dgm:pt modelId="{A22C3F9D-C7C3-4B61-9508-E43989E16DF9}" type="pres">
      <dgm:prSet presAssocID="{E1E87211-51ED-4321-B927-32FF55324BCA}" presName="Name35" presStyleLbl="parChTrans1D3" presStyleIdx="0" presStyleCnt="14"/>
      <dgm:spPr/>
      <dgm:t>
        <a:bodyPr/>
        <a:lstStyle/>
        <a:p>
          <a:endParaRPr lang="de-DE"/>
        </a:p>
      </dgm:t>
    </dgm:pt>
    <dgm:pt modelId="{FF5778D5-8C0E-44AE-87DA-80E5DE1A6DC1}" type="pres">
      <dgm:prSet presAssocID="{A2CB7522-71E6-45BD-8660-5E1074722354}" presName="hierRoot2" presStyleCnt="0">
        <dgm:presLayoutVars>
          <dgm:hierBranch val="init"/>
        </dgm:presLayoutVars>
      </dgm:prSet>
      <dgm:spPr/>
    </dgm:pt>
    <dgm:pt modelId="{70D8B970-2919-4D37-8A12-5F5005E23B1E}" type="pres">
      <dgm:prSet presAssocID="{A2CB7522-71E6-45BD-8660-5E1074722354}" presName="rootComposite" presStyleCnt="0"/>
      <dgm:spPr/>
    </dgm:pt>
    <dgm:pt modelId="{C1B7640B-16DF-4CA4-9091-CA7D0179C5BA}" type="pres">
      <dgm:prSet presAssocID="{A2CB7522-71E6-45BD-8660-5E1074722354}" presName="rootText" presStyleLbl="node3" presStyleIdx="0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173A63C-8DE8-4294-9F60-D4BAFB4995C8}" type="pres">
      <dgm:prSet presAssocID="{A2CB7522-71E6-45BD-8660-5E1074722354}" presName="rootConnector" presStyleLbl="node3" presStyleIdx="0" presStyleCnt="10"/>
      <dgm:spPr/>
      <dgm:t>
        <a:bodyPr/>
        <a:lstStyle/>
        <a:p>
          <a:endParaRPr lang="de-DE"/>
        </a:p>
      </dgm:t>
    </dgm:pt>
    <dgm:pt modelId="{07853D58-CD0E-4178-A11F-6F35DA30D68C}" type="pres">
      <dgm:prSet presAssocID="{A2CB7522-71E6-45BD-8660-5E1074722354}" presName="hierChild4" presStyleCnt="0"/>
      <dgm:spPr/>
    </dgm:pt>
    <dgm:pt modelId="{8BD0E905-DE28-4237-A39F-84EE977A1A87}" type="pres">
      <dgm:prSet presAssocID="{5960AC1E-504F-43F6-8112-A10D0F41E60B}" presName="Name37" presStyleLbl="parChTrans1D4" presStyleIdx="0" presStyleCnt="10"/>
      <dgm:spPr/>
      <dgm:t>
        <a:bodyPr/>
        <a:lstStyle/>
        <a:p>
          <a:endParaRPr lang="de-DE"/>
        </a:p>
      </dgm:t>
    </dgm:pt>
    <dgm:pt modelId="{99E7240E-A6DA-43AD-8065-822E987969B3}" type="pres">
      <dgm:prSet presAssocID="{E486C7BC-A226-4908-AA8C-322269C38028}" presName="hierRoot2" presStyleCnt="0">
        <dgm:presLayoutVars>
          <dgm:hierBranch val="hang"/>
        </dgm:presLayoutVars>
      </dgm:prSet>
      <dgm:spPr/>
    </dgm:pt>
    <dgm:pt modelId="{AD9FB25F-73A7-442C-A961-EDEA8375B677}" type="pres">
      <dgm:prSet presAssocID="{E486C7BC-A226-4908-AA8C-322269C38028}" presName="rootComposite" presStyleCnt="0"/>
      <dgm:spPr/>
    </dgm:pt>
    <dgm:pt modelId="{591ECE7D-1FEC-46A0-A4DB-C298D2AE9D8A}" type="pres">
      <dgm:prSet presAssocID="{E486C7BC-A226-4908-AA8C-322269C38028}" presName="rootText" presStyleLbl="node4" presStyleIdx="0" presStyleCnt="10" custScaleX="69115" custScaleY="57910" custLinFactNeighborY="2566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EA6AAE77-03B5-408D-B905-7C72234C7BA9}" type="pres">
      <dgm:prSet presAssocID="{E486C7BC-A226-4908-AA8C-322269C38028}" presName="rootConnector" presStyleLbl="node4" presStyleIdx="0" presStyleCnt="10"/>
      <dgm:spPr/>
      <dgm:t>
        <a:bodyPr/>
        <a:lstStyle/>
        <a:p>
          <a:endParaRPr lang="de-DE"/>
        </a:p>
      </dgm:t>
    </dgm:pt>
    <dgm:pt modelId="{7645830C-F29E-4600-8FFD-A313BDF23D41}" type="pres">
      <dgm:prSet presAssocID="{E486C7BC-A226-4908-AA8C-322269C38028}" presName="hierChild4" presStyleCnt="0"/>
      <dgm:spPr/>
    </dgm:pt>
    <dgm:pt modelId="{111D078B-BBB3-4C20-9DE9-E2647AC9368D}" type="pres">
      <dgm:prSet presAssocID="{E486C7BC-A226-4908-AA8C-322269C38028}" presName="hierChild5" presStyleCnt="0"/>
      <dgm:spPr/>
    </dgm:pt>
    <dgm:pt modelId="{2ECF897C-3F46-4C37-959B-65E30A4BAD47}" type="pres">
      <dgm:prSet presAssocID="{A2CB7522-71E6-45BD-8660-5E1074722354}" presName="hierChild5" presStyleCnt="0"/>
      <dgm:spPr/>
    </dgm:pt>
    <dgm:pt modelId="{F52CFAC0-7F97-469C-ACEB-60DE9381E113}" type="pres">
      <dgm:prSet presAssocID="{F4D9181E-205E-464C-9BC7-95DE1A2BA8D5}" presName="Name35" presStyleLbl="parChTrans1D3" presStyleIdx="1" presStyleCnt="14"/>
      <dgm:spPr/>
      <dgm:t>
        <a:bodyPr/>
        <a:lstStyle/>
        <a:p>
          <a:endParaRPr lang="de-DE"/>
        </a:p>
      </dgm:t>
    </dgm:pt>
    <dgm:pt modelId="{2A27C0BE-BF40-4F39-81BD-F0ACE39309C8}" type="pres">
      <dgm:prSet presAssocID="{657DDBB0-B232-4194-9F3D-5CC51B33E0AF}" presName="hierRoot2" presStyleCnt="0">
        <dgm:presLayoutVars>
          <dgm:hierBranch val="init"/>
        </dgm:presLayoutVars>
      </dgm:prSet>
      <dgm:spPr/>
    </dgm:pt>
    <dgm:pt modelId="{314F6A16-B199-4724-BA80-279FF7BAFC06}" type="pres">
      <dgm:prSet presAssocID="{657DDBB0-B232-4194-9F3D-5CC51B33E0AF}" presName="rootComposite" presStyleCnt="0"/>
      <dgm:spPr/>
    </dgm:pt>
    <dgm:pt modelId="{60809CFC-1EAE-4630-85D1-DFA965F4F688}" type="pres">
      <dgm:prSet presAssocID="{657DDBB0-B232-4194-9F3D-5CC51B33E0AF}" presName="rootText" presStyleLbl="node3" presStyleIdx="1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1D8B213-E7FB-47D5-91D5-34AD6DA28EBE}" type="pres">
      <dgm:prSet presAssocID="{657DDBB0-B232-4194-9F3D-5CC51B33E0AF}" presName="rootConnector" presStyleLbl="node3" presStyleIdx="1" presStyleCnt="10"/>
      <dgm:spPr/>
      <dgm:t>
        <a:bodyPr/>
        <a:lstStyle/>
        <a:p>
          <a:endParaRPr lang="de-DE"/>
        </a:p>
      </dgm:t>
    </dgm:pt>
    <dgm:pt modelId="{A87DD6C7-302B-4E0A-BD37-FC19A510F874}" type="pres">
      <dgm:prSet presAssocID="{657DDBB0-B232-4194-9F3D-5CC51B33E0AF}" presName="hierChild4" presStyleCnt="0"/>
      <dgm:spPr/>
    </dgm:pt>
    <dgm:pt modelId="{881A8613-4A1F-478C-B0E5-042024217EC5}" type="pres">
      <dgm:prSet presAssocID="{0D243537-92B1-4939-AE94-7EDCF042C9F7}" presName="Name37" presStyleLbl="parChTrans1D4" presStyleIdx="1" presStyleCnt="10"/>
      <dgm:spPr/>
      <dgm:t>
        <a:bodyPr/>
        <a:lstStyle/>
        <a:p>
          <a:endParaRPr lang="de-DE"/>
        </a:p>
      </dgm:t>
    </dgm:pt>
    <dgm:pt modelId="{4B353E12-2C75-43DA-99C3-DF0380D22621}" type="pres">
      <dgm:prSet presAssocID="{5FFC46F6-3E71-42D9-BE0C-66E3AA717C4F}" presName="hierRoot2" presStyleCnt="0">
        <dgm:presLayoutVars>
          <dgm:hierBranch val="init"/>
        </dgm:presLayoutVars>
      </dgm:prSet>
      <dgm:spPr/>
    </dgm:pt>
    <dgm:pt modelId="{16A3F869-929B-4ABF-A4EB-9571808DE522}" type="pres">
      <dgm:prSet presAssocID="{5FFC46F6-3E71-42D9-BE0C-66E3AA717C4F}" presName="rootComposite" presStyleCnt="0"/>
      <dgm:spPr/>
    </dgm:pt>
    <dgm:pt modelId="{8B0B53AA-926B-42BF-8410-051F1BA91A19}" type="pres">
      <dgm:prSet presAssocID="{5FFC46F6-3E71-42D9-BE0C-66E3AA717C4F}" presName="rootText" presStyleLbl="node4" presStyleIdx="1" presStyleCnt="10" custScaleX="69115" custScaleY="57910" custLinFactNeighborY="261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D630D37-CAF8-421C-940D-71074AC44FC2}" type="pres">
      <dgm:prSet presAssocID="{5FFC46F6-3E71-42D9-BE0C-66E3AA717C4F}" presName="rootConnector" presStyleLbl="node4" presStyleIdx="1" presStyleCnt="10"/>
      <dgm:spPr/>
      <dgm:t>
        <a:bodyPr/>
        <a:lstStyle/>
        <a:p>
          <a:endParaRPr lang="de-DE"/>
        </a:p>
      </dgm:t>
    </dgm:pt>
    <dgm:pt modelId="{D6C8FD12-5A3B-4C60-A8E9-38C3FDC841A9}" type="pres">
      <dgm:prSet presAssocID="{5FFC46F6-3E71-42D9-BE0C-66E3AA717C4F}" presName="hierChild4" presStyleCnt="0"/>
      <dgm:spPr/>
    </dgm:pt>
    <dgm:pt modelId="{184E684C-2542-4169-8BED-C3845B356D70}" type="pres">
      <dgm:prSet presAssocID="{5FFC46F6-3E71-42D9-BE0C-66E3AA717C4F}" presName="hierChild5" presStyleCnt="0"/>
      <dgm:spPr/>
    </dgm:pt>
    <dgm:pt modelId="{5980FF72-47F6-4495-B0F8-BD0C72BF8A54}" type="pres">
      <dgm:prSet presAssocID="{657DDBB0-B232-4194-9F3D-5CC51B33E0AF}" presName="hierChild5" presStyleCnt="0"/>
      <dgm:spPr/>
    </dgm:pt>
    <dgm:pt modelId="{39ECFB7D-FDA4-487D-9339-86F469AB46BD}" type="pres">
      <dgm:prSet presAssocID="{CA0406F1-12F9-4404-A7A5-712E89F79CB5}" presName="Name35" presStyleLbl="parChTrans1D3" presStyleIdx="2" presStyleCnt="14"/>
      <dgm:spPr/>
      <dgm:t>
        <a:bodyPr/>
        <a:lstStyle/>
        <a:p>
          <a:endParaRPr lang="de-DE"/>
        </a:p>
      </dgm:t>
    </dgm:pt>
    <dgm:pt modelId="{3BC80181-6316-4023-BF9B-80DB25C6C86E}" type="pres">
      <dgm:prSet presAssocID="{85861E5F-C30E-4A16-8BC6-C9614552F674}" presName="hierRoot2" presStyleCnt="0">
        <dgm:presLayoutVars>
          <dgm:hierBranch val="init"/>
        </dgm:presLayoutVars>
      </dgm:prSet>
      <dgm:spPr/>
    </dgm:pt>
    <dgm:pt modelId="{C340E83D-F201-45AF-87A0-892636D0C457}" type="pres">
      <dgm:prSet presAssocID="{85861E5F-C30E-4A16-8BC6-C9614552F674}" presName="rootComposite" presStyleCnt="0"/>
      <dgm:spPr/>
    </dgm:pt>
    <dgm:pt modelId="{2D0C3AD6-1409-4B25-B17F-28C412FD7280}" type="pres">
      <dgm:prSet presAssocID="{85861E5F-C30E-4A16-8BC6-C9614552F674}" presName="rootText" presStyleLbl="node3" presStyleIdx="2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C9CC239-211E-42DB-8F1F-2C1755762075}" type="pres">
      <dgm:prSet presAssocID="{85861E5F-C30E-4A16-8BC6-C9614552F674}" presName="rootConnector" presStyleLbl="node3" presStyleIdx="2" presStyleCnt="10"/>
      <dgm:spPr/>
      <dgm:t>
        <a:bodyPr/>
        <a:lstStyle/>
        <a:p>
          <a:endParaRPr lang="de-DE"/>
        </a:p>
      </dgm:t>
    </dgm:pt>
    <dgm:pt modelId="{9AB59971-12EE-4E48-A5A0-6E18FCC94156}" type="pres">
      <dgm:prSet presAssocID="{85861E5F-C30E-4A16-8BC6-C9614552F674}" presName="hierChild4" presStyleCnt="0"/>
      <dgm:spPr/>
    </dgm:pt>
    <dgm:pt modelId="{402D31B9-40D5-4C8B-9091-10F54BEF1A11}" type="pres">
      <dgm:prSet presAssocID="{90718E9B-D169-4073-BD0E-5B41BA3032AD}" presName="Name37" presStyleLbl="parChTrans1D4" presStyleIdx="2" presStyleCnt="10"/>
      <dgm:spPr/>
      <dgm:t>
        <a:bodyPr/>
        <a:lstStyle/>
        <a:p>
          <a:endParaRPr lang="de-DE"/>
        </a:p>
      </dgm:t>
    </dgm:pt>
    <dgm:pt modelId="{373E12B9-9816-42CE-9614-7A2093AE4D23}" type="pres">
      <dgm:prSet presAssocID="{483565DB-47EA-4227-86FC-092B66FAFB9E}" presName="hierRoot2" presStyleCnt="0">
        <dgm:presLayoutVars>
          <dgm:hierBranch val="init"/>
        </dgm:presLayoutVars>
      </dgm:prSet>
      <dgm:spPr/>
    </dgm:pt>
    <dgm:pt modelId="{993775C7-8F15-472D-98CE-E06F7734FCC6}" type="pres">
      <dgm:prSet presAssocID="{483565DB-47EA-4227-86FC-092B66FAFB9E}" presName="rootComposite" presStyleCnt="0"/>
      <dgm:spPr/>
    </dgm:pt>
    <dgm:pt modelId="{8F0A2041-DAA7-44C4-B980-8E6EDF3F57E5}" type="pres">
      <dgm:prSet presAssocID="{483565DB-47EA-4227-86FC-092B66FAFB9E}" presName="rootText" presStyleLbl="node4" presStyleIdx="2" presStyleCnt="10" custScaleX="69115" custScaleY="57910" custLinFactNeighborY="261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6DF9F1-8BE0-4810-AB46-D6252566B9BA}" type="pres">
      <dgm:prSet presAssocID="{483565DB-47EA-4227-86FC-092B66FAFB9E}" presName="rootConnector" presStyleLbl="node4" presStyleIdx="2" presStyleCnt="10"/>
      <dgm:spPr/>
      <dgm:t>
        <a:bodyPr/>
        <a:lstStyle/>
        <a:p>
          <a:endParaRPr lang="de-DE"/>
        </a:p>
      </dgm:t>
    </dgm:pt>
    <dgm:pt modelId="{130498E2-5A68-438E-B1D1-E004588D8AC2}" type="pres">
      <dgm:prSet presAssocID="{483565DB-47EA-4227-86FC-092B66FAFB9E}" presName="hierChild4" presStyleCnt="0"/>
      <dgm:spPr/>
    </dgm:pt>
    <dgm:pt modelId="{E82E3051-F5EA-49AF-A6F0-8E09ECD133EE}" type="pres">
      <dgm:prSet presAssocID="{483565DB-47EA-4227-86FC-092B66FAFB9E}" presName="hierChild5" presStyleCnt="0"/>
      <dgm:spPr/>
    </dgm:pt>
    <dgm:pt modelId="{9989F863-589F-467C-AA26-A65D3589B1C3}" type="pres">
      <dgm:prSet presAssocID="{85861E5F-C30E-4A16-8BC6-C9614552F674}" presName="hierChild5" presStyleCnt="0"/>
      <dgm:spPr/>
    </dgm:pt>
    <dgm:pt modelId="{3EC0F114-690B-48EE-B61F-D4A1BA42BE4E}" type="pres">
      <dgm:prSet presAssocID="{EC53749C-46C7-488D-AA63-655AFD2389C5}" presName="Name35" presStyleLbl="parChTrans1D3" presStyleIdx="3" presStyleCnt="14"/>
      <dgm:spPr/>
      <dgm:t>
        <a:bodyPr/>
        <a:lstStyle/>
        <a:p>
          <a:endParaRPr lang="de-DE"/>
        </a:p>
      </dgm:t>
    </dgm:pt>
    <dgm:pt modelId="{9C016EDB-41DD-4855-A05D-8686EE584106}" type="pres">
      <dgm:prSet presAssocID="{F81E21DA-FD6E-4C6D-9C53-8BA0BD4A254D}" presName="hierRoot2" presStyleCnt="0">
        <dgm:presLayoutVars>
          <dgm:hierBranch val="init"/>
        </dgm:presLayoutVars>
      </dgm:prSet>
      <dgm:spPr/>
    </dgm:pt>
    <dgm:pt modelId="{A361F840-2748-4F41-B775-3CA7F853F3B1}" type="pres">
      <dgm:prSet presAssocID="{F81E21DA-FD6E-4C6D-9C53-8BA0BD4A254D}" presName="rootComposite" presStyleCnt="0"/>
      <dgm:spPr/>
    </dgm:pt>
    <dgm:pt modelId="{8F3C0838-EAD2-4337-808B-2DCD768D9FE9}" type="pres">
      <dgm:prSet presAssocID="{F81E21DA-FD6E-4C6D-9C53-8BA0BD4A254D}" presName="rootText" presStyleLbl="node3" presStyleIdx="3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535457D-07BF-4A9D-A749-6851B2037068}" type="pres">
      <dgm:prSet presAssocID="{F81E21DA-FD6E-4C6D-9C53-8BA0BD4A254D}" presName="rootConnector" presStyleLbl="node3" presStyleIdx="3" presStyleCnt="10"/>
      <dgm:spPr/>
      <dgm:t>
        <a:bodyPr/>
        <a:lstStyle/>
        <a:p>
          <a:endParaRPr lang="de-DE"/>
        </a:p>
      </dgm:t>
    </dgm:pt>
    <dgm:pt modelId="{8BDB22CA-2BE7-4027-BC54-5A0B1125D0E7}" type="pres">
      <dgm:prSet presAssocID="{F81E21DA-FD6E-4C6D-9C53-8BA0BD4A254D}" presName="hierChild4" presStyleCnt="0"/>
      <dgm:spPr/>
    </dgm:pt>
    <dgm:pt modelId="{8E216525-7A8C-45E4-9597-88ED3603AF3B}" type="pres">
      <dgm:prSet presAssocID="{140717A6-7A7E-4078-ABC0-69623BEAC1F6}" presName="Name37" presStyleLbl="parChTrans1D4" presStyleIdx="3" presStyleCnt="10"/>
      <dgm:spPr/>
      <dgm:t>
        <a:bodyPr/>
        <a:lstStyle/>
        <a:p>
          <a:endParaRPr lang="de-DE"/>
        </a:p>
      </dgm:t>
    </dgm:pt>
    <dgm:pt modelId="{342FBF40-80B0-4819-A1ED-4376283C8234}" type="pres">
      <dgm:prSet presAssocID="{1901BCD9-3251-477B-88A0-9A8AED30AFE0}" presName="hierRoot2" presStyleCnt="0">
        <dgm:presLayoutVars>
          <dgm:hierBranch val="init"/>
        </dgm:presLayoutVars>
      </dgm:prSet>
      <dgm:spPr/>
    </dgm:pt>
    <dgm:pt modelId="{FBF339D6-EB9D-4C48-89B2-880FCE99C42D}" type="pres">
      <dgm:prSet presAssocID="{1901BCD9-3251-477B-88A0-9A8AED30AFE0}" presName="rootComposite" presStyleCnt="0"/>
      <dgm:spPr/>
    </dgm:pt>
    <dgm:pt modelId="{4E90235C-3906-45B2-81E2-69236A8E39C0}" type="pres">
      <dgm:prSet presAssocID="{1901BCD9-3251-477B-88A0-9A8AED30AFE0}" presName="rootText" presStyleLbl="node4" presStyleIdx="3" presStyleCnt="10" custScaleX="69115" custScaleY="57910" custLinFactNeighborY="261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B49B10D-594D-4052-8BC6-C8D2C91852FA}" type="pres">
      <dgm:prSet presAssocID="{1901BCD9-3251-477B-88A0-9A8AED30AFE0}" presName="rootConnector" presStyleLbl="node4" presStyleIdx="3" presStyleCnt="10"/>
      <dgm:spPr/>
      <dgm:t>
        <a:bodyPr/>
        <a:lstStyle/>
        <a:p>
          <a:endParaRPr lang="de-DE"/>
        </a:p>
      </dgm:t>
    </dgm:pt>
    <dgm:pt modelId="{C47144E3-2474-4C46-8261-95C282584C17}" type="pres">
      <dgm:prSet presAssocID="{1901BCD9-3251-477B-88A0-9A8AED30AFE0}" presName="hierChild4" presStyleCnt="0"/>
      <dgm:spPr/>
    </dgm:pt>
    <dgm:pt modelId="{841EE1D2-49B5-4935-9FBC-6A909FD7410E}" type="pres">
      <dgm:prSet presAssocID="{1901BCD9-3251-477B-88A0-9A8AED30AFE0}" presName="hierChild5" presStyleCnt="0"/>
      <dgm:spPr/>
    </dgm:pt>
    <dgm:pt modelId="{BFCF6F70-5D33-47A9-8A03-55E4175F7A09}" type="pres">
      <dgm:prSet presAssocID="{F81E21DA-FD6E-4C6D-9C53-8BA0BD4A254D}" presName="hierChild5" presStyleCnt="0"/>
      <dgm:spPr/>
    </dgm:pt>
    <dgm:pt modelId="{001B9108-3DA0-4F08-BEA9-00AD4F1FFE1B}" type="pres">
      <dgm:prSet presAssocID="{49936F48-8DD0-493E-85C9-D0AFBA68A87B}" presName="Name35" presStyleLbl="parChTrans1D3" presStyleIdx="4" presStyleCnt="14"/>
      <dgm:spPr/>
      <dgm:t>
        <a:bodyPr/>
        <a:lstStyle/>
        <a:p>
          <a:endParaRPr lang="de-DE"/>
        </a:p>
      </dgm:t>
    </dgm:pt>
    <dgm:pt modelId="{756DEC35-F376-4D3F-9BFB-4C00E78BFFD9}" type="pres">
      <dgm:prSet presAssocID="{3A40DFC6-CEB8-49A2-8A08-61F2AC6F453F}" presName="hierRoot2" presStyleCnt="0">
        <dgm:presLayoutVars>
          <dgm:hierBranch val="init"/>
        </dgm:presLayoutVars>
      </dgm:prSet>
      <dgm:spPr/>
    </dgm:pt>
    <dgm:pt modelId="{66A5BC1E-83EA-476C-B8D9-3B9C8E4C5E39}" type="pres">
      <dgm:prSet presAssocID="{3A40DFC6-CEB8-49A2-8A08-61F2AC6F453F}" presName="rootComposite" presStyleCnt="0"/>
      <dgm:spPr/>
    </dgm:pt>
    <dgm:pt modelId="{B0AB5278-3EC8-4898-9375-770F4AA7E79E}" type="pres">
      <dgm:prSet presAssocID="{3A40DFC6-CEB8-49A2-8A08-61F2AC6F453F}" presName="rootText" presStyleLbl="node3" presStyleIdx="4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066C3BA-3E53-4636-93F3-C2E31E911888}" type="pres">
      <dgm:prSet presAssocID="{3A40DFC6-CEB8-49A2-8A08-61F2AC6F453F}" presName="rootConnector" presStyleLbl="node3" presStyleIdx="4" presStyleCnt="10"/>
      <dgm:spPr/>
      <dgm:t>
        <a:bodyPr/>
        <a:lstStyle/>
        <a:p>
          <a:endParaRPr lang="de-DE"/>
        </a:p>
      </dgm:t>
    </dgm:pt>
    <dgm:pt modelId="{FAE1AEAE-6B47-437A-8A58-FDD62088520D}" type="pres">
      <dgm:prSet presAssocID="{3A40DFC6-CEB8-49A2-8A08-61F2AC6F453F}" presName="hierChild4" presStyleCnt="0"/>
      <dgm:spPr/>
    </dgm:pt>
    <dgm:pt modelId="{A1EDFBE0-B4F6-4B1D-96C6-DDB3CDC50B58}" type="pres">
      <dgm:prSet presAssocID="{22222F70-B26E-4775-8A77-BAF70CD68F9D}" presName="Name37" presStyleLbl="parChTrans1D4" presStyleIdx="4" presStyleCnt="10"/>
      <dgm:spPr/>
      <dgm:t>
        <a:bodyPr/>
        <a:lstStyle/>
        <a:p>
          <a:endParaRPr lang="de-DE"/>
        </a:p>
      </dgm:t>
    </dgm:pt>
    <dgm:pt modelId="{207F234E-9649-43E6-B22B-455D9C9EB197}" type="pres">
      <dgm:prSet presAssocID="{D4F561AE-AE9B-4801-A294-6F70D893C01B}" presName="hierRoot2" presStyleCnt="0">
        <dgm:presLayoutVars>
          <dgm:hierBranch val="init"/>
        </dgm:presLayoutVars>
      </dgm:prSet>
      <dgm:spPr/>
    </dgm:pt>
    <dgm:pt modelId="{08D8DA2C-94C5-41B8-BDD0-BC7AEDE2D1C7}" type="pres">
      <dgm:prSet presAssocID="{D4F561AE-AE9B-4801-A294-6F70D893C01B}" presName="rootComposite" presStyleCnt="0"/>
      <dgm:spPr/>
    </dgm:pt>
    <dgm:pt modelId="{6CE0EE06-402F-48FD-95E6-AEF5FF10BBD2}" type="pres">
      <dgm:prSet presAssocID="{D4F561AE-AE9B-4801-A294-6F70D893C01B}" presName="rootText" presStyleLbl="node4" presStyleIdx="4" presStyleCnt="10" custScaleX="69115" custScaleY="57910" custLinFactNeighborY="261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1E91CBA-367A-45AA-894C-EA6728194538}" type="pres">
      <dgm:prSet presAssocID="{D4F561AE-AE9B-4801-A294-6F70D893C01B}" presName="rootConnector" presStyleLbl="node4" presStyleIdx="4" presStyleCnt="10"/>
      <dgm:spPr/>
      <dgm:t>
        <a:bodyPr/>
        <a:lstStyle/>
        <a:p>
          <a:endParaRPr lang="de-DE"/>
        </a:p>
      </dgm:t>
    </dgm:pt>
    <dgm:pt modelId="{0D472ACA-41B7-4ACB-81E0-FBE53C775C03}" type="pres">
      <dgm:prSet presAssocID="{D4F561AE-AE9B-4801-A294-6F70D893C01B}" presName="hierChild4" presStyleCnt="0"/>
      <dgm:spPr/>
    </dgm:pt>
    <dgm:pt modelId="{F3EB94B1-21F0-4A91-AD34-9349A87FA299}" type="pres">
      <dgm:prSet presAssocID="{D4F561AE-AE9B-4801-A294-6F70D893C01B}" presName="hierChild5" presStyleCnt="0"/>
      <dgm:spPr/>
    </dgm:pt>
    <dgm:pt modelId="{5073A536-24FF-4E87-9FF7-80A9908A31CE}" type="pres">
      <dgm:prSet presAssocID="{3A40DFC6-CEB8-49A2-8A08-61F2AC6F453F}" presName="hierChild5" presStyleCnt="0"/>
      <dgm:spPr/>
    </dgm:pt>
    <dgm:pt modelId="{57B71D01-2243-46FB-A062-2CACC7346822}" type="pres">
      <dgm:prSet presAssocID="{57E2656F-B0F0-4934-B9F0-BEF0BDA7831B}" presName="Name35" presStyleLbl="parChTrans1D3" presStyleIdx="5" presStyleCnt="14"/>
      <dgm:spPr/>
      <dgm:t>
        <a:bodyPr/>
        <a:lstStyle/>
        <a:p>
          <a:endParaRPr lang="de-DE"/>
        </a:p>
      </dgm:t>
    </dgm:pt>
    <dgm:pt modelId="{1A943425-DEB7-4D17-BEFC-912CC8F22A2A}" type="pres">
      <dgm:prSet presAssocID="{59E21C72-2D75-4B59-825F-E4B705871538}" presName="hierRoot2" presStyleCnt="0">
        <dgm:presLayoutVars>
          <dgm:hierBranch val="init"/>
        </dgm:presLayoutVars>
      </dgm:prSet>
      <dgm:spPr/>
    </dgm:pt>
    <dgm:pt modelId="{98CF9D1B-7EC3-4EB2-BCCB-C9D8A5F52164}" type="pres">
      <dgm:prSet presAssocID="{59E21C72-2D75-4B59-825F-E4B705871538}" presName="rootComposite" presStyleCnt="0"/>
      <dgm:spPr/>
    </dgm:pt>
    <dgm:pt modelId="{6FDEB2FC-CC9A-4BCC-AD31-91C660A6F016}" type="pres">
      <dgm:prSet presAssocID="{59E21C72-2D75-4B59-825F-E4B705871538}" presName="rootText" presStyleLbl="node3" presStyleIdx="5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089CB8-F10E-42BC-A824-8141447EA60E}" type="pres">
      <dgm:prSet presAssocID="{59E21C72-2D75-4B59-825F-E4B705871538}" presName="rootConnector" presStyleLbl="node3" presStyleIdx="5" presStyleCnt="10"/>
      <dgm:spPr/>
      <dgm:t>
        <a:bodyPr/>
        <a:lstStyle/>
        <a:p>
          <a:endParaRPr lang="de-DE"/>
        </a:p>
      </dgm:t>
    </dgm:pt>
    <dgm:pt modelId="{27DFD8EC-3052-4733-8C2A-A0010205F551}" type="pres">
      <dgm:prSet presAssocID="{59E21C72-2D75-4B59-825F-E4B705871538}" presName="hierChild4" presStyleCnt="0"/>
      <dgm:spPr/>
    </dgm:pt>
    <dgm:pt modelId="{C134ECE4-5EDD-42B3-B754-63C8EBACB2F0}" type="pres">
      <dgm:prSet presAssocID="{CD116555-1465-4323-9676-8264DF6ACBD0}" presName="Name37" presStyleLbl="parChTrans1D4" presStyleIdx="5" presStyleCnt="10"/>
      <dgm:spPr/>
      <dgm:t>
        <a:bodyPr/>
        <a:lstStyle/>
        <a:p>
          <a:endParaRPr lang="de-DE"/>
        </a:p>
      </dgm:t>
    </dgm:pt>
    <dgm:pt modelId="{F2435737-577F-4389-BAFF-FCBFB5084FE6}" type="pres">
      <dgm:prSet presAssocID="{354C242F-C8DB-4405-8945-6FD36470198A}" presName="hierRoot2" presStyleCnt="0">
        <dgm:presLayoutVars>
          <dgm:hierBranch val="init"/>
        </dgm:presLayoutVars>
      </dgm:prSet>
      <dgm:spPr/>
    </dgm:pt>
    <dgm:pt modelId="{E95AB739-02EA-47F6-A837-11380DE902EC}" type="pres">
      <dgm:prSet presAssocID="{354C242F-C8DB-4405-8945-6FD36470198A}" presName="rootComposite" presStyleCnt="0"/>
      <dgm:spPr/>
    </dgm:pt>
    <dgm:pt modelId="{62FEDEBB-EA1B-4261-8C6A-66F124073364}" type="pres">
      <dgm:prSet presAssocID="{354C242F-C8DB-4405-8945-6FD36470198A}" presName="rootText" presStyleLbl="node4" presStyleIdx="5" presStyleCnt="10" custScaleX="69115" custScaleY="57910" custLinFactNeighborY="261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DB0B6A4-65CD-46EA-8D80-D9E439A6D476}" type="pres">
      <dgm:prSet presAssocID="{354C242F-C8DB-4405-8945-6FD36470198A}" presName="rootConnector" presStyleLbl="node4" presStyleIdx="5" presStyleCnt="10"/>
      <dgm:spPr/>
      <dgm:t>
        <a:bodyPr/>
        <a:lstStyle/>
        <a:p>
          <a:endParaRPr lang="de-DE"/>
        </a:p>
      </dgm:t>
    </dgm:pt>
    <dgm:pt modelId="{0968D4E1-3897-43BE-9929-77E174154337}" type="pres">
      <dgm:prSet presAssocID="{354C242F-C8DB-4405-8945-6FD36470198A}" presName="hierChild4" presStyleCnt="0"/>
      <dgm:spPr/>
    </dgm:pt>
    <dgm:pt modelId="{43A1CA24-8172-42E7-A0C3-D44F6E7FDBC3}" type="pres">
      <dgm:prSet presAssocID="{354C242F-C8DB-4405-8945-6FD36470198A}" presName="hierChild5" presStyleCnt="0"/>
      <dgm:spPr/>
    </dgm:pt>
    <dgm:pt modelId="{B3EBE91E-E82B-4319-996E-CCB67A95EFF4}" type="pres">
      <dgm:prSet presAssocID="{59E21C72-2D75-4B59-825F-E4B705871538}" presName="hierChild5" presStyleCnt="0"/>
      <dgm:spPr/>
    </dgm:pt>
    <dgm:pt modelId="{274AC589-5C04-492F-A1F9-EA1EE8B1FAD0}" type="pres">
      <dgm:prSet presAssocID="{04F33FD6-897F-4277-AECC-4314F4397BDA}" presName="Name35" presStyleLbl="parChTrans1D3" presStyleIdx="6" presStyleCnt="14"/>
      <dgm:spPr/>
      <dgm:t>
        <a:bodyPr/>
        <a:lstStyle/>
        <a:p>
          <a:endParaRPr lang="de-DE"/>
        </a:p>
      </dgm:t>
    </dgm:pt>
    <dgm:pt modelId="{F3EB014E-5E96-4028-A057-54A5EC4CEBDC}" type="pres">
      <dgm:prSet presAssocID="{1CBE497A-7B05-4572-9238-A69A48D5AD9E}" presName="hierRoot2" presStyleCnt="0">
        <dgm:presLayoutVars>
          <dgm:hierBranch val="init"/>
        </dgm:presLayoutVars>
      </dgm:prSet>
      <dgm:spPr/>
    </dgm:pt>
    <dgm:pt modelId="{F229E5A7-8A85-4A10-9304-E3E1259D357F}" type="pres">
      <dgm:prSet presAssocID="{1CBE497A-7B05-4572-9238-A69A48D5AD9E}" presName="rootComposite" presStyleCnt="0"/>
      <dgm:spPr/>
    </dgm:pt>
    <dgm:pt modelId="{72C42CCE-0697-451F-A619-0945EEDFD849}" type="pres">
      <dgm:prSet presAssocID="{1CBE497A-7B05-4572-9238-A69A48D5AD9E}" presName="rootText" presStyleLbl="node3" presStyleIdx="6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0FA22A0-7812-41A9-BA19-68A982AC0FA3}" type="pres">
      <dgm:prSet presAssocID="{1CBE497A-7B05-4572-9238-A69A48D5AD9E}" presName="rootConnector" presStyleLbl="node3" presStyleIdx="6" presStyleCnt="10"/>
      <dgm:spPr/>
      <dgm:t>
        <a:bodyPr/>
        <a:lstStyle/>
        <a:p>
          <a:endParaRPr lang="de-DE"/>
        </a:p>
      </dgm:t>
    </dgm:pt>
    <dgm:pt modelId="{D74168D8-D33D-420D-95D5-E70EA4B6E404}" type="pres">
      <dgm:prSet presAssocID="{1CBE497A-7B05-4572-9238-A69A48D5AD9E}" presName="hierChild4" presStyleCnt="0"/>
      <dgm:spPr/>
    </dgm:pt>
    <dgm:pt modelId="{66248D66-B78D-4996-9EB3-8B5489F26EC5}" type="pres">
      <dgm:prSet presAssocID="{A8458212-D3CC-4720-A439-22475D5DDFAE}" presName="Name37" presStyleLbl="parChTrans1D4" presStyleIdx="6" presStyleCnt="10"/>
      <dgm:spPr/>
      <dgm:t>
        <a:bodyPr/>
        <a:lstStyle/>
        <a:p>
          <a:endParaRPr lang="de-DE"/>
        </a:p>
      </dgm:t>
    </dgm:pt>
    <dgm:pt modelId="{308AF729-C321-4A20-8B08-0BE13B12F3B9}" type="pres">
      <dgm:prSet presAssocID="{A2CAC21C-D384-4D5E-9C90-5DA22A5E2D02}" presName="hierRoot2" presStyleCnt="0">
        <dgm:presLayoutVars>
          <dgm:hierBranch val="init"/>
        </dgm:presLayoutVars>
      </dgm:prSet>
      <dgm:spPr/>
    </dgm:pt>
    <dgm:pt modelId="{CD4B102D-E1EC-4522-A63F-44B23096DAA4}" type="pres">
      <dgm:prSet presAssocID="{A2CAC21C-D384-4D5E-9C90-5DA22A5E2D02}" presName="rootComposite" presStyleCnt="0"/>
      <dgm:spPr/>
    </dgm:pt>
    <dgm:pt modelId="{18E7B84C-7128-40E4-B20D-0153489451E2}" type="pres">
      <dgm:prSet presAssocID="{A2CAC21C-D384-4D5E-9C90-5DA22A5E2D02}" presName="rootText" presStyleLbl="node4" presStyleIdx="6" presStyleCnt="10" custScaleX="69115" custScaleY="57910" custLinFactNeighborY="261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9DF032E-34E2-4B7D-8DD1-B410565E0897}" type="pres">
      <dgm:prSet presAssocID="{A2CAC21C-D384-4D5E-9C90-5DA22A5E2D02}" presName="rootConnector" presStyleLbl="node4" presStyleIdx="6" presStyleCnt="10"/>
      <dgm:spPr/>
      <dgm:t>
        <a:bodyPr/>
        <a:lstStyle/>
        <a:p>
          <a:endParaRPr lang="de-DE"/>
        </a:p>
      </dgm:t>
    </dgm:pt>
    <dgm:pt modelId="{FC35B73F-98E0-49CC-8EF3-1CB2229B3E8D}" type="pres">
      <dgm:prSet presAssocID="{A2CAC21C-D384-4D5E-9C90-5DA22A5E2D02}" presName="hierChild4" presStyleCnt="0"/>
      <dgm:spPr/>
    </dgm:pt>
    <dgm:pt modelId="{72DE28E8-4BEE-4067-97E3-0623BCA8E189}" type="pres">
      <dgm:prSet presAssocID="{A2CAC21C-D384-4D5E-9C90-5DA22A5E2D02}" presName="hierChild5" presStyleCnt="0"/>
      <dgm:spPr/>
    </dgm:pt>
    <dgm:pt modelId="{853B07CA-CC72-4A39-98B4-FBC2265C83CB}" type="pres">
      <dgm:prSet presAssocID="{1CBE497A-7B05-4572-9238-A69A48D5AD9E}" presName="hierChild5" presStyleCnt="0"/>
      <dgm:spPr/>
    </dgm:pt>
    <dgm:pt modelId="{ED7399D1-3DFF-41E6-A669-8A815B365BE1}" type="pres">
      <dgm:prSet presAssocID="{DA74DD71-0732-40AE-90A6-B26135744E0F}" presName="Name35" presStyleLbl="parChTrans1D3" presStyleIdx="7" presStyleCnt="14"/>
      <dgm:spPr/>
      <dgm:t>
        <a:bodyPr/>
        <a:lstStyle/>
        <a:p>
          <a:endParaRPr lang="de-DE"/>
        </a:p>
      </dgm:t>
    </dgm:pt>
    <dgm:pt modelId="{7F509005-D372-4386-8C77-1E81CC75D149}" type="pres">
      <dgm:prSet presAssocID="{AF8AC138-CD7D-4835-AF71-CA3CEA42175C}" presName="hierRoot2" presStyleCnt="0">
        <dgm:presLayoutVars>
          <dgm:hierBranch val="init"/>
        </dgm:presLayoutVars>
      </dgm:prSet>
      <dgm:spPr/>
    </dgm:pt>
    <dgm:pt modelId="{2F32DFE2-AAEC-4FBE-AD6A-788090AFC563}" type="pres">
      <dgm:prSet presAssocID="{AF8AC138-CD7D-4835-AF71-CA3CEA42175C}" presName="rootComposite" presStyleCnt="0"/>
      <dgm:spPr/>
    </dgm:pt>
    <dgm:pt modelId="{F26BA9A8-4166-4D77-A099-312209F3A16D}" type="pres">
      <dgm:prSet presAssocID="{AF8AC138-CD7D-4835-AF71-CA3CEA42175C}" presName="rootText" presStyleLbl="node3" presStyleIdx="7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310D08C-D34F-46E1-AF23-996B59E83490}" type="pres">
      <dgm:prSet presAssocID="{AF8AC138-CD7D-4835-AF71-CA3CEA42175C}" presName="rootConnector" presStyleLbl="node3" presStyleIdx="7" presStyleCnt="10"/>
      <dgm:spPr/>
      <dgm:t>
        <a:bodyPr/>
        <a:lstStyle/>
        <a:p>
          <a:endParaRPr lang="de-DE"/>
        </a:p>
      </dgm:t>
    </dgm:pt>
    <dgm:pt modelId="{223FAB7F-EE84-4671-9326-17A868FE1E4B}" type="pres">
      <dgm:prSet presAssocID="{AF8AC138-CD7D-4835-AF71-CA3CEA42175C}" presName="hierChild4" presStyleCnt="0"/>
      <dgm:spPr/>
    </dgm:pt>
    <dgm:pt modelId="{57AAD1CB-E4AB-49EC-A501-6ABAD8E32C92}" type="pres">
      <dgm:prSet presAssocID="{F31D1F19-D0F6-4E46-A5D6-BA4A28EEC0AD}" presName="Name37" presStyleLbl="parChTrans1D4" presStyleIdx="7" presStyleCnt="10"/>
      <dgm:spPr/>
      <dgm:t>
        <a:bodyPr/>
        <a:lstStyle/>
        <a:p>
          <a:endParaRPr lang="de-DE"/>
        </a:p>
      </dgm:t>
    </dgm:pt>
    <dgm:pt modelId="{ED0256EE-6942-4495-A867-C32F5814A695}" type="pres">
      <dgm:prSet presAssocID="{A2015D57-E9D0-42EE-919D-ECB2AFBDDD2A}" presName="hierRoot2" presStyleCnt="0">
        <dgm:presLayoutVars>
          <dgm:hierBranch val="init"/>
        </dgm:presLayoutVars>
      </dgm:prSet>
      <dgm:spPr/>
    </dgm:pt>
    <dgm:pt modelId="{69278CFF-9B78-472F-9CBD-375FEE4458AC}" type="pres">
      <dgm:prSet presAssocID="{A2015D57-E9D0-42EE-919D-ECB2AFBDDD2A}" presName="rootComposite" presStyleCnt="0"/>
      <dgm:spPr/>
    </dgm:pt>
    <dgm:pt modelId="{C3848B27-0433-44BA-BE6D-239BB0F24EC4}" type="pres">
      <dgm:prSet presAssocID="{A2015D57-E9D0-42EE-919D-ECB2AFBDDD2A}" presName="rootText" presStyleLbl="node4" presStyleIdx="7" presStyleCnt="10" custScaleX="69115" custScaleY="57910" custLinFactNeighborY="261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195C32A-4876-4BE2-B055-6CFB620E1283}" type="pres">
      <dgm:prSet presAssocID="{A2015D57-E9D0-42EE-919D-ECB2AFBDDD2A}" presName="rootConnector" presStyleLbl="node4" presStyleIdx="7" presStyleCnt="10"/>
      <dgm:spPr/>
      <dgm:t>
        <a:bodyPr/>
        <a:lstStyle/>
        <a:p>
          <a:endParaRPr lang="de-DE"/>
        </a:p>
      </dgm:t>
    </dgm:pt>
    <dgm:pt modelId="{5A363D7D-8E22-455B-B93D-354609D488EC}" type="pres">
      <dgm:prSet presAssocID="{A2015D57-E9D0-42EE-919D-ECB2AFBDDD2A}" presName="hierChild4" presStyleCnt="0"/>
      <dgm:spPr/>
    </dgm:pt>
    <dgm:pt modelId="{458462E8-BBEE-489B-9747-5CEB2FF7774A}" type="pres">
      <dgm:prSet presAssocID="{A2015D57-E9D0-42EE-919D-ECB2AFBDDD2A}" presName="hierChild5" presStyleCnt="0"/>
      <dgm:spPr/>
    </dgm:pt>
    <dgm:pt modelId="{7814E8E5-419E-4E70-B5AE-441804DD0C7B}" type="pres">
      <dgm:prSet presAssocID="{AF8AC138-CD7D-4835-AF71-CA3CEA42175C}" presName="hierChild5" presStyleCnt="0"/>
      <dgm:spPr/>
    </dgm:pt>
    <dgm:pt modelId="{9490645C-1D35-4FA6-B6C2-898EFC507F6B}" type="pres">
      <dgm:prSet presAssocID="{68373D1D-4601-4977-86D5-94966BFAD2C6}" presName="Name35" presStyleLbl="parChTrans1D3" presStyleIdx="8" presStyleCnt="14"/>
      <dgm:spPr/>
      <dgm:t>
        <a:bodyPr/>
        <a:lstStyle/>
        <a:p>
          <a:endParaRPr lang="de-DE"/>
        </a:p>
      </dgm:t>
    </dgm:pt>
    <dgm:pt modelId="{A99C7617-D3B3-49CF-8A44-DE0632F4525C}" type="pres">
      <dgm:prSet presAssocID="{3F7EB55B-D8D2-4616-AB55-F43C43196924}" presName="hierRoot2" presStyleCnt="0">
        <dgm:presLayoutVars>
          <dgm:hierBranch val="init"/>
        </dgm:presLayoutVars>
      </dgm:prSet>
      <dgm:spPr/>
    </dgm:pt>
    <dgm:pt modelId="{7F151AE0-B2B8-4A79-85B2-197EBD830AE7}" type="pres">
      <dgm:prSet presAssocID="{3F7EB55B-D8D2-4616-AB55-F43C43196924}" presName="rootComposite" presStyleCnt="0"/>
      <dgm:spPr/>
    </dgm:pt>
    <dgm:pt modelId="{CD9C42CA-84C6-4249-A6DE-52164ABC062C}" type="pres">
      <dgm:prSet presAssocID="{3F7EB55B-D8D2-4616-AB55-F43C43196924}" presName="rootText" presStyleLbl="node3" presStyleIdx="8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BA6BCCB2-245C-4E23-BCCA-8D73A540E1A8}" type="pres">
      <dgm:prSet presAssocID="{3F7EB55B-D8D2-4616-AB55-F43C43196924}" presName="rootConnector" presStyleLbl="node3" presStyleIdx="8" presStyleCnt="10"/>
      <dgm:spPr/>
      <dgm:t>
        <a:bodyPr/>
        <a:lstStyle/>
        <a:p>
          <a:endParaRPr lang="de-DE"/>
        </a:p>
      </dgm:t>
    </dgm:pt>
    <dgm:pt modelId="{213FEDDA-A77B-494E-8C0E-EA74493A9986}" type="pres">
      <dgm:prSet presAssocID="{3F7EB55B-D8D2-4616-AB55-F43C43196924}" presName="hierChild4" presStyleCnt="0"/>
      <dgm:spPr/>
    </dgm:pt>
    <dgm:pt modelId="{43811524-BB6D-4B21-BD0B-59947001D4A1}" type="pres">
      <dgm:prSet presAssocID="{3B1630F2-F49D-47D8-8816-DD887C006686}" presName="Name37" presStyleLbl="parChTrans1D4" presStyleIdx="8" presStyleCnt="10"/>
      <dgm:spPr/>
      <dgm:t>
        <a:bodyPr/>
        <a:lstStyle/>
        <a:p>
          <a:endParaRPr lang="de-DE"/>
        </a:p>
      </dgm:t>
    </dgm:pt>
    <dgm:pt modelId="{E3E78CAD-B93C-432F-9E05-7373FF921091}" type="pres">
      <dgm:prSet presAssocID="{ACDB817B-F3A5-4161-A100-2C1D5F463354}" presName="hierRoot2" presStyleCnt="0">
        <dgm:presLayoutVars>
          <dgm:hierBranch val="init"/>
        </dgm:presLayoutVars>
      </dgm:prSet>
      <dgm:spPr/>
    </dgm:pt>
    <dgm:pt modelId="{3183B49A-2674-4549-A84B-60E0C6B5E490}" type="pres">
      <dgm:prSet presAssocID="{ACDB817B-F3A5-4161-A100-2C1D5F463354}" presName="rootComposite" presStyleCnt="0"/>
      <dgm:spPr/>
    </dgm:pt>
    <dgm:pt modelId="{B9EFE3FB-F3B2-4B6D-A64B-30D567F84C12}" type="pres">
      <dgm:prSet presAssocID="{ACDB817B-F3A5-4161-A100-2C1D5F463354}" presName="rootText" presStyleLbl="node4" presStyleIdx="8" presStyleCnt="10" custScaleX="69115" custScaleY="57910" custLinFactNeighborY="261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D8BA04A7-A589-445B-9105-D0876412C8C6}" type="pres">
      <dgm:prSet presAssocID="{ACDB817B-F3A5-4161-A100-2C1D5F463354}" presName="rootConnector" presStyleLbl="node4" presStyleIdx="8" presStyleCnt="10"/>
      <dgm:spPr/>
      <dgm:t>
        <a:bodyPr/>
        <a:lstStyle/>
        <a:p>
          <a:endParaRPr lang="de-DE"/>
        </a:p>
      </dgm:t>
    </dgm:pt>
    <dgm:pt modelId="{0510B0CF-D9D3-4D38-82CA-52E3B9A0AF36}" type="pres">
      <dgm:prSet presAssocID="{ACDB817B-F3A5-4161-A100-2C1D5F463354}" presName="hierChild4" presStyleCnt="0"/>
      <dgm:spPr/>
    </dgm:pt>
    <dgm:pt modelId="{919CF2F2-2933-466E-B8E4-F9C8D3EB8025}" type="pres">
      <dgm:prSet presAssocID="{ACDB817B-F3A5-4161-A100-2C1D5F463354}" presName="hierChild5" presStyleCnt="0"/>
      <dgm:spPr/>
    </dgm:pt>
    <dgm:pt modelId="{25992A23-2BED-4F36-9B8C-8117ABFD8CA7}" type="pres">
      <dgm:prSet presAssocID="{3F7EB55B-D8D2-4616-AB55-F43C43196924}" presName="hierChild5" presStyleCnt="0"/>
      <dgm:spPr/>
    </dgm:pt>
    <dgm:pt modelId="{836FA727-DDE5-4AA5-9564-3F20DBC911B7}" type="pres">
      <dgm:prSet presAssocID="{111624A8-D334-4DB0-8E6B-C592093EF977}" presName="Name35" presStyleLbl="parChTrans1D3" presStyleIdx="9" presStyleCnt="14"/>
      <dgm:spPr/>
      <dgm:t>
        <a:bodyPr/>
        <a:lstStyle/>
        <a:p>
          <a:endParaRPr lang="de-DE"/>
        </a:p>
      </dgm:t>
    </dgm:pt>
    <dgm:pt modelId="{7A3C92EB-5EC8-4322-AFBC-E1161CF32E53}" type="pres">
      <dgm:prSet presAssocID="{F025B426-D849-4AAB-9D97-3E7CAE694742}" presName="hierRoot2" presStyleCnt="0">
        <dgm:presLayoutVars>
          <dgm:hierBranch val="init"/>
        </dgm:presLayoutVars>
      </dgm:prSet>
      <dgm:spPr/>
    </dgm:pt>
    <dgm:pt modelId="{3EC53C4D-B489-47C4-B7DA-92165BFFD049}" type="pres">
      <dgm:prSet presAssocID="{F025B426-D849-4AAB-9D97-3E7CAE694742}" presName="rootComposite" presStyleCnt="0"/>
      <dgm:spPr/>
    </dgm:pt>
    <dgm:pt modelId="{0119CCB5-ABF6-4C75-AEA6-56C080297E09}" type="pres">
      <dgm:prSet presAssocID="{F025B426-D849-4AAB-9D97-3E7CAE694742}" presName="rootText" presStyleLbl="node3" presStyleIdx="9" presStyleCnt="10" custScaleX="122981" custScaleY="24818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E12EF45-0F54-4AB9-BFA6-DE3E473D26B2}" type="pres">
      <dgm:prSet presAssocID="{F025B426-D849-4AAB-9D97-3E7CAE694742}" presName="rootConnector" presStyleLbl="node3" presStyleIdx="9" presStyleCnt="10"/>
      <dgm:spPr/>
      <dgm:t>
        <a:bodyPr/>
        <a:lstStyle/>
        <a:p>
          <a:endParaRPr lang="de-DE"/>
        </a:p>
      </dgm:t>
    </dgm:pt>
    <dgm:pt modelId="{FC821CEE-80D8-4769-961D-059A68844A43}" type="pres">
      <dgm:prSet presAssocID="{F025B426-D849-4AAB-9D97-3E7CAE694742}" presName="hierChild4" presStyleCnt="0"/>
      <dgm:spPr/>
    </dgm:pt>
    <dgm:pt modelId="{4CA18A95-1314-4F06-8DDC-B488626E5254}" type="pres">
      <dgm:prSet presAssocID="{8A00F92C-DA4D-49F2-8792-83558C78879C}" presName="Name37" presStyleLbl="parChTrans1D4" presStyleIdx="9" presStyleCnt="10"/>
      <dgm:spPr/>
      <dgm:t>
        <a:bodyPr/>
        <a:lstStyle/>
        <a:p>
          <a:endParaRPr lang="de-DE"/>
        </a:p>
      </dgm:t>
    </dgm:pt>
    <dgm:pt modelId="{980346AE-34A7-453A-86AC-6C59BF0ABC37}" type="pres">
      <dgm:prSet presAssocID="{433B7CA0-D2C6-4DB5-B0A0-17F1FFC0F208}" presName="hierRoot2" presStyleCnt="0">
        <dgm:presLayoutVars>
          <dgm:hierBranch val="init"/>
        </dgm:presLayoutVars>
      </dgm:prSet>
      <dgm:spPr/>
    </dgm:pt>
    <dgm:pt modelId="{B478FD4A-0257-42A4-A6ED-429EA645737D}" type="pres">
      <dgm:prSet presAssocID="{433B7CA0-D2C6-4DB5-B0A0-17F1FFC0F208}" presName="rootComposite" presStyleCnt="0"/>
      <dgm:spPr/>
    </dgm:pt>
    <dgm:pt modelId="{11DA6F3D-3B6C-4AAB-9BD3-3B384CC501A3}" type="pres">
      <dgm:prSet presAssocID="{433B7CA0-D2C6-4DB5-B0A0-17F1FFC0F208}" presName="rootText" presStyleLbl="node4" presStyleIdx="9" presStyleCnt="10" custScaleX="69115" custScaleY="57910" custLinFactNeighborY="261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B44B0F0-0ECF-4D7E-A669-29F280868CE3}" type="pres">
      <dgm:prSet presAssocID="{433B7CA0-D2C6-4DB5-B0A0-17F1FFC0F208}" presName="rootConnector" presStyleLbl="node4" presStyleIdx="9" presStyleCnt="10"/>
      <dgm:spPr/>
      <dgm:t>
        <a:bodyPr/>
        <a:lstStyle/>
        <a:p>
          <a:endParaRPr lang="de-DE"/>
        </a:p>
      </dgm:t>
    </dgm:pt>
    <dgm:pt modelId="{B3402D09-33C8-4A13-BDBA-62FF1B1B9D50}" type="pres">
      <dgm:prSet presAssocID="{433B7CA0-D2C6-4DB5-B0A0-17F1FFC0F208}" presName="hierChild4" presStyleCnt="0"/>
      <dgm:spPr/>
    </dgm:pt>
    <dgm:pt modelId="{9E3F4D53-D923-4AED-BE54-F82514EF7F29}" type="pres">
      <dgm:prSet presAssocID="{433B7CA0-D2C6-4DB5-B0A0-17F1FFC0F208}" presName="hierChild5" presStyleCnt="0"/>
      <dgm:spPr/>
    </dgm:pt>
    <dgm:pt modelId="{9961B947-291F-4D34-B914-5461F8505124}" type="pres">
      <dgm:prSet presAssocID="{F025B426-D849-4AAB-9D97-3E7CAE694742}" presName="hierChild5" presStyleCnt="0"/>
      <dgm:spPr/>
    </dgm:pt>
    <dgm:pt modelId="{A8179C13-68A2-4C8A-BD7B-33B3EA030D02}" type="pres">
      <dgm:prSet presAssocID="{D4F7164A-9FF1-4F65-82AC-B9F25046820D}" presName="hierChild5" presStyleCnt="0"/>
      <dgm:spPr/>
    </dgm:pt>
    <dgm:pt modelId="{AF6EDF22-D0EC-4339-A430-3597838F18C9}" type="pres">
      <dgm:prSet presAssocID="{453A13CE-3AA3-4C9F-B7F7-90265CCFDBB3}" presName="Name111" presStyleLbl="parChTrans1D3" presStyleIdx="10" presStyleCnt="14"/>
      <dgm:spPr/>
      <dgm:t>
        <a:bodyPr/>
        <a:lstStyle/>
        <a:p>
          <a:endParaRPr lang="de-DE"/>
        </a:p>
      </dgm:t>
    </dgm:pt>
    <dgm:pt modelId="{FEE5B9B6-1E4A-4A02-8DBE-0C0AFE17D6E5}" type="pres">
      <dgm:prSet presAssocID="{B38FC32D-7CC4-43AF-9124-DCFA0F4DF293}" presName="hierRoot3" presStyleCnt="0">
        <dgm:presLayoutVars>
          <dgm:hierBranch val="init"/>
        </dgm:presLayoutVars>
      </dgm:prSet>
      <dgm:spPr/>
    </dgm:pt>
    <dgm:pt modelId="{6B5E8D30-B02C-4B26-836B-3ED231EDA972}" type="pres">
      <dgm:prSet presAssocID="{B38FC32D-7CC4-43AF-9124-DCFA0F4DF293}" presName="rootComposite3" presStyleCnt="0"/>
      <dgm:spPr/>
    </dgm:pt>
    <dgm:pt modelId="{4430D1F1-4169-4541-9E38-94BB66275897}" type="pres">
      <dgm:prSet presAssocID="{B38FC32D-7CC4-43AF-9124-DCFA0F4DF293}" presName="rootText3" presStyleLbl="asst2" presStyleIdx="0" presStyleCnt="4" custScaleX="228329" custScaleY="99273" custLinFactY="-9670" custLinFactNeighborX="-41689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5AC39B6-E2E1-4A6D-8C5E-FBC75C7A6F00}" type="pres">
      <dgm:prSet presAssocID="{B38FC32D-7CC4-43AF-9124-DCFA0F4DF293}" presName="rootConnector3" presStyleLbl="asst2" presStyleIdx="0" presStyleCnt="4"/>
      <dgm:spPr/>
      <dgm:t>
        <a:bodyPr/>
        <a:lstStyle/>
        <a:p>
          <a:endParaRPr lang="de-DE"/>
        </a:p>
      </dgm:t>
    </dgm:pt>
    <dgm:pt modelId="{70D5D2D4-2E99-4C6B-811E-7D4E805AA104}" type="pres">
      <dgm:prSet presAssocID="{B38FC32D-7CC4-43AF-9124-DCFA0F4DF293}" presName="hierChild6" presStyleCnt="0"/>
      <dgm:spPr/>
    </dgm:pt>
    <dgm:pt modelId="{CB2316CC-217C-4ACB-8075-106343AD20E2}" type="pres">
      <dgm:prSet presAssocID="{B38FC32D-7CC4-43AF-9124-DCFA0F4DF293}" presName="hierChild7" presStyleCnt="0"/>
      <dgm:spPr/>
    </dgm:pt>
    <dgm:pt modelId="{4346862A-16D4-4BFD-BD18-C1B68F2901A7}" type="pres">
      <dgm:prSet presAssocID="{57EB8D8D-0B16-46FA-9CE7-8732E2B4A3E7}" presName="Name111" presStyleLbl="parChTrans1D3" presStyleIdx="11" presStyleCnt="14"/>
      <dgm:spPr/>
      <dgm:t>
        <a:bodyPr/>
        <a:lstStyle/>
        <a:p>
          <a:endParaRPr lang="de-DE"/>
        </a:p>
      </dgm:t>
    </dgm:pt>
    <dgm:pt modelId="{DDC2A43C-032E-42AA-ADFB-4B101FF63BD5}" type="pres">
      <dgm:prSet presAssocID="{E6C70B32-CBF9-49A0-AA12-9213BA3C6C7C}" presName="hierRoot3" presStyleCnt="0">
        <dgm:presLayoutVars>
          <dgm:hierBranch val="init"/>
        </dgm:presLayoutVars>
      </dgm:prSet>
      <dgm:spPr/>
    </dgm:pt>
    <dgm:pt modelId="{B7F742A2-2D62-4B2B-AE1D-701244D0D64D}" type="pres">
      <dgm:prSet presAssocID="{E6C70B32-CBF9-49A0-AA12-9213BA3C6C7C}" presName="rootComposite3" presStyleCnt="0"/>
      <dgm:spPr/>
    </dgm:pt>
    <dgm:pt modelId="{4EF84C94-F6CA-484F-B52B-606432443C05}" type="pres">
      <dgm:prSet presAssocID="{E6C70B32-CBF9-49A0-AA12-9213BA3C6C7C}" presName="rootText3" presStyleLbl="asst2" presStyleIdx="1" presStyleCnt="4" custScaleX="228454" custScaleY="99273" custLinFactY="-10393" custLinFactNeighborX="35701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F44C2CA-A632-40E2-A8BD-1DF70D0A6920}" type="pres">
      <dgm:prSet presAssocID="{E6C70B32-CBF9-49A0-AA12-9213BA3C6C7C}" presName="rootConnector3" presStyleLbl="asst2" presStyleIdx="1" presStyleCnt="4"/>
      <dgm:spPr/>
      <dgm:t>
        <a:bodyPr/>
        <a:lstStyle/>
        <a:p>
          <a:endParaRPr lang="de-DE"/>
        </a:p>
      </dgm:t>
    </dgm:pt>
    <dgm:pt modelId="{59207D52-A38B-464D-BBD6-D4EB5A52E3C6}" type="pres">
      <dgm:prSet presAssocID="{E6C70B32-CBF9-49A0-AA12-9213BA3C6C7C}" presName="hierChild6" presStyleCnt="0"/>
      <dgm:spPr/>
    </dgm:pt>
    <dgm:pt modelId="{985D0A05-797F-4CB9-BA05-B99D0F2D0B29}" type="pres">
      <dgm:prSet presAssocID="{E6C70B32-CBF9-49A0-AA12-9213BA3C6C7C}" presName="hierChild7" presStyleCnt="0"/>
      <dgm:spPr/>
    </dgm:pt>
    <dgm:pt modelId="{955B6202-4E04-4449-85D3-31113D7D0F18}" type="pres">
      <dgm:prSet presAssocID="{38F2A94C-DA89-4D87-B65E-E804A4874A9B}" presName="Name111" presStyleLbl="parChTrans1D3" presStyleIdx="12" presStyleCnt="14"/>
      <dgm:spPr/>
      <dgm:t>
        <a:bodyPr/>
        <a:lstStyle/>
        <a:p>
          <a:endParaRPr lang="de-DE"/>
        </a:p>
      </dgm:t>
    </dgm:pt>
    <dgm:pt modelId="{A2737802-CC0A-45B9-B0D7-FAB7BFC7E077}" type="pres">
      <dgm:prSet presAssocID="{E9801196-6D03-48AB-B988-68FF40EDD9E3}" presName="hierRoot3" presStyleCnt="0">
        <dgm:presLayoutVars>
          <dgm:hierBranch val="init"/>
        </dgm:presLayoutVars>
      </dgm:prSet>
      <dgm:spPr/>
    </dgm:pt>
    <dgm:pt modelId="{F766E87D-9A61-4FF7-B1D7-A4F51FB72A5F}" type="pres">
      <dgm:prSet presAssocID="{E9801196-6D03-48AB-B988-68FF40EDD9E3}" presName="rootComposite3" presStyleCnt="0"/>
      <dgm:spPr/>
    </dgm:pt>
    <dgm:pt modelId="{7C636518-A830-4675-B1FC-16D96E0BE54F}" type="pres">
      <dgm:prSet presAssocID="{E9801196-6D03-48AB-B988-68FF40EDD9E3}" presName="rootText3" presStyleLbl="asst2" presStyleIdx="2" presStyleCnt="4" custScaleX="223365" custScaleY="99273" custLinFactX="-47398" custLinFactY="-6521" custLinFactNeighborX="-100000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9AA34D1-285F-498D-AD9D-EB676762D840}" type="pres">
      <dgm:prSet presAssocID="{E9801196-6D03-48AB-B988-68FF40EDD9E3}" presName="rootConnector3" presStyleLbl="asst2" presStyleIdx="2" presStyleCnt="4"/>
      <dgm:spPr/>
      <dgm:t>
        <a:bodyPr/>
        <a:lstStyle/>
        <a:p>
          <a:endParaRPr lang="de-DE"/>
        </a:p>
      </dgm:t>
    </dgm:pt>
    <dgm:pt modelId="{90C8AAA7-44BD-42C9-A4D7-A30DF430017B}" type="pres">
      <dgm:prSet presAssocID="{E9801196-6D03-48AB-B988-68FF40EDD9E3}" presName="hierChild6" presStyleCnt="0"/>
      <dgm:spPr/>
    </dgm:pt>
    <dgm:pt modelId="{DD3347DC-1906-421D-AB49-5519C757CBDA}" type="pres">
      <dgm:prSet presAssocID="{E9801196-6D03-48AB-B988-68FF40EDD9E3}" presName="hierChild7" presStyleCnt="0"/>
      <dgm:spPr/>
    </dgm:pt>
    <dgm:pt modelId="{295B7631-8540-4F99-B9E3-4B496242F73C}" type="pres">
      <dgm:prSet presAssocID="{D816F4A7-CC30-4C25-874D-5475F3B5FB08}" presName="Name111" presStyleLbl="parChTrans1D3" presStyleIdx="13" presStyleCnt="14"/>
      <dgm:spPr/>
      <dgm:t>
        <a:bodyPr/>
        <a:lstStyle/>
        <a:p>
          <a:endParaRPr lang="de-DE"/>
        </a:p>
      </dgm:t>
    </dgm:pt>
    <dgm:pt modelId="{2935A04B-B269-41A5-B13F-2C13D642B8B5}" type="pres">
      <dgm:prSet presAssocID="{3F9D6342-B5A7-49AB-B511-C63B700C30AA}" presName="hierRoot3" presStyleCnt="0">
        <dgm:presLayoutVars>
          <dgm:hierBranch val="init"/>
        </dgm:presLayoutVars>
      </dgm:prSet>
      <dgm:spPr/>
    </dgm:pt>
    <dgm:pt modelId="{0D7DD1BF-9AFE-40E5-A84B-95A9CE23B3B5}" type="pres">
      <dgm:prSet presAssocID="{3F9D6342-B5A7-49AB-B511-C63B700C30AA}" presName="rootComposite3" presStyleCnt="0"/>
      <dgm:spPr/>
    </dgm:pt>
    <dgm:pt modelId="{81AD70D2-FA4A-4F67-AB41-4CAD174C56B9}" type="pres">
      <dgm:prSet presAssocID="{3F9D6342-B5A7-49AB-B511-C63B700C30AA}" presName="rootText3" presStyleLbl="asst2" presStyleIdx="3" presStyleCnt="4" custScaleX="223365" custScaleY="99273" custLinFactX="49277" custLinFactY="-6522" custLinFactNeighborX="100000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BBF1B67-0D72-4175-B1D6-E4E812CE4849}" type="pres">
      <dgm:prSet presAssocID="{3F9D6342-B5A7-49AB-B511-C63B700C30AA}" presName="rootConnector3" presStyleLbl="asst2" presStyleIdx="3" presStyleCnt="4"/>
      <dgm:spPr/>
      <dgm:t>
        <a:bodyPr/>
        <a:lstStyle/>
        <a:p>
          <a:endParaRPr lang="de-DE"/>
        </a:p>
      </dgm:t>
    </dgm:pt>
    <dgm:pt modelId="{4BEA03CF-7AED-4A65-8301-AA31C5C4A83F}" type="pres">
      <dgm:prSet presAssocID="{3F9D6342-B5A7-49AB-B511-C63B700C30AA}" presName="hierChild6" presStyleCnt="0"/>
      <dgm:spPr/>
    </dgm:pt>
    <dgm:pt modelId="{3C69FD51-03D6-4BAD-B353-9BA0AAAE04B3}" type="pres">
      <dgm:prSet presAssocID="{3F9D6342-B5A7-49AB-B511-C63B700C30AA}" presName="hierChild7" presStyleCnt="0"/>
      <dgm:spPr/>
    </dgm:pt>
    <dgm:pt modelId="{9EB22A7E-9A50-4928-8955-DBD925D82BF7}" type="pres">
      <dgm:prSet presAssocID="{E1E42948-A962-4296-ACD0-73911027A8C2}" presName="hierChild3" presStyleCnt="0"/>
      <dgm:spPr/>
    </dgm:pt>
  </dgm:ptLst>
  <dgm:cxnLst>
    <dgm:cxn modelId="{E1A825A2-E360-4DA6-9ADE-BFA645613D98}" type="presOf" srcId="{CD116555-1465-4323-9676-8264DF6ACBD0}" destId="{C134ECE4-5EDD-42B3-B754-63C8EBACB2F0}" srcOrd="0" destOrd="0" presId="urn:microsoft.com/office/officeart/2005/8/layout/orgChart1"/>
    <dgm:cxn modelId="{B5108135-26D1-486A-9230-30F6470BFBC1}" srcId="{D4F7164A-9FF1-4F65-82AC-B9F25046820D}" destId="{1CBE497A-7B05-4572-9238-A69A48D5AD9E}" srcOrd="8" destOrd="0" parTransId="{04F33FD6-897F-4277-AECC-4314F4397BDA}" sibTransId="{9FF78050-7868-4C8E-8A46-8742C6788EBF}"/>
    <dgm:cxn modelId="{EF707D41-B23C-4460-B760-E276109055CF}" type="presOf" srcId="{57EB8D8D-0B16-46FA-9CE7-8732E2B4A3E7}" destId="{4346862A-16D4-4BFD-BD18-C1B68F2901A7}" srcOrd="0" destOrd="0" presId="urn:microsoft.com/office/officeart/2005/8/layout/orgChart1"/>
    <dgm:cxn modelId="{E5FFAC8B-4594-43FE-A46F-1862F7AB64F2}" srcId="{3F7EB55B-D8D2-4616-AB55-F43C43196924}" destId="{ACDB817B-F3A5-4161-A100-2C1D5F463354}" srcOrd="0" destOrd="0" parTransId="{3B1630F2-F49D-47D8-8816-DD887C006686}" sibTransId="{56031FD0-B6AC-4E07-9117-91DE6943DCAB}"/>
    <dgm:cxn modelId="{3B18340D-D25D-41B1-9612-CB53B93D73E9}" type="presOf" srcId="{111624A8-D334-4DB0-8E6B-C592093EF977}" destId="{836FA727-DDE5-4AA5-9564-3F20DBC911B7}" srcOrd="0" destOrd="0" presId="urn:microsoft.com/office/officeart/2005/8/layout/orgChart1"/>
    <dgm:cxn modelId="{552E3868-E628-43FC-BBC7-B1EC1460F567}" type="presOf" srcId="{E6C70B32-CBF9-49A0-AA12-9213BA3C6C7C}" destId="{0F44C2CA-A632-40E2-A8BD-1DF70D0A6920}" srcOrd="1" destOrd="0" presId="urn:microsoft.com/office/officeart/2005/8/layout/orgChart1"/>
    <dgm:cxn modelId="{404F5B29-E2A1-465B-B1F2-F11C3E9D826B}" srcId="{D4F7164A-9FF1-4F65-82AC-B9F25046820D}" destId="{A2CB7522-71E6-45BD-8660-5E1074722354}" srcOrd="1" destOrd="0" parTransId="{E1E87211-51ED-4321-B927-32FF55324BCA}" sibTransId="{D4EBC951-578D-4AD9-B4CA-1A0BEE494119}"/>
    <dgm:cxn modelId="{00D17928-1A0E-4ECB-BC02-280874E0D985}" type="presOf" srcId="{A8458212-D3CC-4720-A439-22475D5DDFAE}" destId="{66248D66-B78D-4996-9EB3-8B5489F26EC5}" srcOrd="0" destOrd="0" presId="urn:microsoft.com/office/officeart/2005/8/layout/orgChart1"/>
    <dgm:cxn modelId="{978F5A36-6203-402C-ACB5-0EA2A695EBBE}" type="presOf" srcId="{DA74DD71-0732-40AE-90A6-B26135744E0F}" destId="{ED7399D1-3DFF-41E6-A669-8A815B365BE1}" srcOrd="0" destOrd="0" presId="urn:microsoft.com/office/officeart/2005/8/layout/orgChart1"/>
    <dgm:cxn modelId="{AC0199E6-ADBC-4ED1-842A-9607CD99536D}" type="presOf" srcId="{F025B426-D849-4AAB-9D97-3E7CAE694742}" destId="{CE12EF45-0F54-4AB9-BFA6-DE3E473D26B2}" srcOrd="1" destOrd="0" presId="urn:microsoft.com/office/officeart/2005/8/layout/orgChart1"/>
    <dgm:cxn modelId="{5D8E3CA3-B95B-4AD7-8CC3-F97E5F604195}" srcId="{D4F7164A-9FF1-4F65-82AC-B9F25046820D}" destId="{657DDBB0-B232-4194-9F3D-5CC51B33E0AF}" srcOrd="3" destOrd="0" parTransId="{F4D9181E-205E-464C-9BC7-95DE1A2BA8D5}" sibTransId="{07FC1750-C363-4F39-B2E4-85600BD28228}"/>
    <dgm:cxn modelId="{63980FCF-D292-46D4-A0D9-2A61B56A19F0}" type="presOf" srcId="{3F9D6342-B5A7-49AB-B511-C63B700C30AA}" destId="{8BBF1B67-0D72-4175-B1D6-E4E812CE4849}" srcOrd="1" destOrd="0" presId="urn:microsoft.com/office/officeart/2005/8/layout/orgChart1"/>
    <dgm:cxn modelId="{78E5AB89-A312-4E73-B082-D7D773F6B76B}" type="presOf" srcId="{F81E21DA-FD6E-4C6D-9C53-8BA0BD4A254D}" destId="{8535457D-07BF-4A9D-A749-6851B2037068}" srcOrd="1" destOrd="0" presId="urn:microsoft.com/office/officeart/2005/8/layout/orgChart1"/>
    <dgm:cxn modelId="{F88217D3-87D2-4842-8320-F760C3B09B04}" type="presOf" srcId="{354C242F-C8DB-4405-8945-6FD36470198A}" destId="{ADB0B6A4-65CD-46EA-8D80-D9E439A6D476}" srcOrd="1" destOrd="0" presId="urn:microsoft.com/office/officeart/2005/8/layout/orgChart1"/>
    <dgm:cxn modelId="{16C0F2CD-4B97-4762-AB2D-332E0F5F77A3}" type="presOf" srcId="{5FFC46F6-3E71-42D9-BE0C-66E3AA717C4F}" destId="{8B0B53AA-926B-42BF-8410-051F1BA91A19}" srcOrd="0" destOrd="0" presId="urn:microsoft.com/office/officeart/2005/8/layout/orgChart1"/>
    <dgm:cxn modelId="{5B985D9B-EF82-4872-90BE-717045F765F4}" type="presOf" srcId="{657DDBB0-B232-4194-9F3D-5CC51B33E0AF}" destId="{60809CFC-1EAE-4630-85D1-DFA965F4F688}" srcOrd="0" destOrd="0" presId="urn:microsoft.com/office/officeart/2005/8/layout/orgChart1"/>
    <dgm:cxn modelId="{8533EBB2-D030-4B45-A7C8-8FD3C8BBBC16}" type="presOf" srcId="{B38FC32D-7CC4-43AF-9124-DCFA0F4DF293}" destId="{4430D1F1-4169-4541-9E38-94BB66275897}" srcOrd="0" destOrd="0" presId="urn:microsoft.com/office/officeart/2005/8/layout/orgChart1"/>
    <dgm:cxn modelId="{CEA687AB-65E9-4D5E-B521-211EE28FD4F3}" srcId="{D4F7164A-9FF1-4F65-82AC-B9F25046820D}" destId="{F81E21DA-FD6E-4C6D-9C53-8BA0BD4A254D}" srcOrd="5" destOrd="0" parTransId="{EC53749C-46C7-488D-AA63-655AFD2389C5}" sibTransId="{4805F6C9-A875-434F-980D-8970E6E2DD6B}"/>
    <dgm:cxn modelId="{5D853B19-2DEB-490F-87D4-A455C9209D7E}" srcId="{D4F7164A-9FF1-4F65-82AC-B9F25046820D}" destId="{3F9D6342-B5A7-49AB-B511-C63B700C30AA}" srcOrd="13" destOrd="0" parTransId="{D816F4A7-CC30-4C25-874D-5475F3B5FB08}" sibTransId="{F398ECED-480B-4B4C-B8EC-473FE9F5DF48}"/>
    <dgm:cxn modelId="{93BC9CD8-A926-49B7-A1E6-AB3775B6BF31}" type="presOf" srcId="{AF8AC138-CD7D-4835-AF71-CA3CEA42175C}" destId="{F26BA9A8-4166-4D77-A099-312209F3A16D}" srcOrd="0" destOrd="0" presId="urn:microsoft.com/office/officeart/2005/8/layout/orgChart1"/>
    <dgm:cxn modelId="{343FD7C3-7157-4593-B2D3-9D486E6583FA}" type="presOf" srcId="{3F9D6342-B5A7-49AB-B511-C63B700C30AA}" destId="{81AD70D2-FA4A-4F67-AB41-4CAD174C56B9}" srcOrd="0" destOrd="0" presId="urn:microsoft.com/office/officeart/2005/8/layout/orgChart1"/>
    <dgm:cxn modelId="{1C5B5F3A-B043-4162-A527-6DECFCE25578}" srcId="{50E1B2F0-4A22-47E5-9098-288633BBC041}" destId="{E1E42948-A962-4296-ACD0-73911027A8C2}" srcOrd="0" destOrd="0" parTransId="{8E342320-0A62-4761-86C2-526B290D7E07}" sibTransId="{62EDD7DD-32EA-4B5D-9F73-BB163890D821}"/>
    <dgm:cxn modelId="{703D6124-541B-47E5-916E-E1DFA5FE86D4}" type="presOf" srcId="{D4F561AE-AE9B-4801-A294-6F70D893C01B}" destId="{51E91CBA-367A-45AA-894C-EA6728194538}" srcOrd="1" destOrd="0" presId="urn:microsoft.com/office/officeart/2005/8/layout/orgChart1"/>
    <dgm:cxn modelId="{934F7E80-6FDF-4186-87F2-E09D1A671182}" type="presOf" srcId="{ACDB817B-F3A5-4161-A100-2C1D5F463354}" destId="{D8BA04A7-A589-445B-9105-D0876412C8C6}" srcOrd="1" destOrd="0" presId="urn:microsoft.com/office/officeart/2005/8/layout/orgChart1"/>
    <dgm:cxn modelId="{9FD6EB17-45E5-4A31-8BDF-9E3D6A4B73CB}" type="presOf" srcId="{E9801196-6D03-48AB-B988-68FF40EDD9E3}" destId="{7C636518-A830-4675-B1FC-16D96E0BE54F}" srcOrd="0" destOrd="0" presId="urn:microsoft.com/office/officeart/2005/8/layout/orgChart1"/>
    <dgm:cxn modelId="{22E1B013-CE90-4C59-AB8B-7562175A989F}" type="presOf" srcId="{3B1630F2-F49D-47D8-8816-DD887C006686}" destId="{43811524-BB6D-4B21-BD0B-59947001D4A1}" srcOrd="0" destOrd="0" presId="urn:microsoft.com/office/officeart/2005/8/layout/orgChart1"/>
    <dgm:cxn modelId="{DDF2FF0A-F188-4E16-87D7-ADBE06606D36}" type="presOf" srcId="{A2CB7522-71E6-45BD-8660-5E1074722354}" destId="{6173A63C-8DE8-4294-9F60-D4BAFB4995C8}" srcOrd="1" destOrd="0" presId="urn:microsoft.com/office/officeart/2005/8/layout/orgChart1"/>
    <dgm:cxn modelId="{38640DC1-0BB3-4058-B08C-6E56D95194D2}" srcId="{E1E42948-A962-4296-ACD0-73911027A8C2}" destId="{D4F7164A-9FF1-4F65-82AC-B9F25046820D}" srcOrd="0" destOrd="0" parTransId="{0D276855-C69D-440E-BF19-9F7FB242F22C}" sibTransId="{962CBA58-A06F-419E-B46B-8102F954B567}"/>
    <dgm:cxn modelId="{B27F4D92-61A1-476F-964A-9A039A1C8511}" type="presOf" srcId="{A2CAC21C-D384-4D5E-9C90-5DA22A5E2D02}" destId="{B9DF032E-34E2-4B7D-8DD1-B410565E0897}" srcOrd="1" destOrd="0" presId="urn:microsoft.com/office/officeart/2005/8/layout/orgChart1"/>
    <dgm:cxn modelId="{E08D9F43-4BEB-499C-BA40-BBF1215A59CA}" srcId="{657DDBB0-B232-4194-9F3D-5CC51B33E0AF}" destId="{5FFC46F6-3E71-42D9-BE0C-66E3AA717C4F}" srcOrd="0" destOrd="0" parTransId="{0D243537-92B1-4939-AE94-7EDCF042C9F7}" sibTransId="{9D42F803-CED7-41F9-A34F-1BC662B29CF9}"/>
    <dgm:cxn modelId="{69F54D5C-8645-41E4-9791-EDC6D76E80F8}" type="presOf" srcId="{E1E87211-51ED-4321-B927-32FF55324BCA}" destId="{A22C3F9D-C7C3-4B61-9508-E43989E16DF9}" srcOrd="0" destOrd="0" presId="urn:microsoft.com/office/officeart/2005/8/layout/orgChart1"/>
    <dgm:cxn modelId="{E086023A-71C7-4574-9858-DA60E3F86CEA}" type="presOf" srcId="{F81E21DA-FD6E-4C6D-9C53-8BA0BD4A254D}" destId="{8F3C0838-EAD2-4337-808B-2DCD768D9FE9}" srcOrd="0" destOrd="0" presId="urn:microsoft.com/office/officeart/2005/8/layout/orgChart1"/>
    <dgm:cxn modelId="{0BFABD9D-20D8-48EC-823C-7ADAFBBC445D}" type="presOf" srcId="{D816F4A7-CC30-4C25-874D-5475F3B5FB08}" destId="{295B7631-8540-4F99-B9E3-4B496242F73C}" srcOrd="0" destOrd="0" presId="urn:microsoft.com/office/officeart/2005/8/layout/orgChart1"/>
    <dgm:cxn modelId="{556DE6BE-C83D-4063-A9EF-9F8DA95BA4F6}" srcId="{D4F7164A-9FF1-4F65-82AC-B9F25046820D}" destId="{59E21C72-2D75-4B59-825F-E4B705871538}" srcOrd="7" destOrd="0" parTransId="{57E2656F-B0F0-4934-B9F0-BEF0BDA7831B}" sibTransId="{ADDEB8D9-25FB-4FCB-9CA1-9FC0CCFA6558}"/>
    <dgm:cxn modelId="{1D579AC6-D812-4AF5-BAD6-EF9AC696B174}" type="presOf" srcId="{483565DB-47EA-4227-86FC-092B66FAFB9E}" destId="{8F0A2041-DAA7-44C4-B980-8E6EDF3F57E5}" srcOrd="0" destOrd="0" presId="urn:microsoft.com/office/officeart/2005/8/layout/orgChart1"/>
    <dgm:cxn modelId="{A02CC1BC-D5F2-4E8E-ADC5-A575221A6B8E}" type="presOf" srcId="{0D243537-92B1-4939-AE94-7EDCF042C9F7}" destId="{881A8613-4A1F-478C-B0E5-042024217EC5}" srcOrd="0" destOrd="0" presId="urn:microsoft.com/office/officeart/2005/8/layout/orgChart1"/>
    <dgm:cxn modelId="{37F0C85A-A493-457E-8478-F8EF69C4B04C}" type="presOf" srcId="{38F2A94C-DA89-4D87-B65E-E804A4874A9B}" destId="{955B6202-4E04-4449-85D3-31113D7D0F18}" srcOrd="0" destOrd="0" presId="urn:microsoft.com/office/officeart/2005/8/layout/orgChart1"/>
    <dgm:cxn modelId="{2C632E89-D284-4F2A-88E1-C53288A7EAE6}" type="presOf" srcId="{50E1B2F0-4A22-47E5-9098-288633BBC041}" destId="{9E4D289C-8366-4266-BE1C-FAD71A417349}" srcOrd="0" destOrd="0" presId="urn:microsoft.com/office/officeart/2005/8/layout/orgChart1"/>
    <dgm:cxn modelId="{B8CD7257-1AB4-48C6-856A-F905E514E05E}" type="presOf" srcId="{5FFC46F6-3E71-42D9-BE0C-66E3AA717C4F}" destId="{3D630D37-CAF8-421C-940D-71074AC44FC2}" srcOrd="1" destOrd="0" presId="urn:microsoft.com/office/officeart/2005/8/layout/orgChart1"/>
    <dgm:cxn modelId="{2F4EB3CE-056D-4041-95CE-107B4F8C7015}" type="presOf" srcId="{0D276855-C69D-440E-BF19-9F7FB242F22C}" destId="{67C4F6B6-3394-41B7-8B0E-F80DFCBD19DB}" srcOrd="0" destOrd="0" presId="urn:microsoft.com/office/officeart/2005/8/layout/orgChart1"/>
    <dgm:cxn modelId="{32CF593D-C83F-4F07-99BE-0F66986159CD}" srcId="{D4F7164A-9FF1-4F65-82AC-B9F25046820D}" destId="{AF8AC138-CD7D-4835-AF71-CA3CEA42175C}" srcOrd="9" destOrd="0" parTransId="{DA74DD71-0732-40AE-90A6-B26135744E0F}" sibTransId="{2C553EF5-941D-4525-87F0-A06AFCCFE2AD}"/>
    <dgm:cxn modelId="{73A22CBD-88D7-4D1A-8A0E-94636A7242F9}" type="presOf" srcId="{D4F561AE-AE9B-4801-A294-6F70D893C01B}" destId="{6CE0EE06-402F-48FD-95E6-AEF5FF10BBD2}" srcOrd="0" destOrd="0" presId="urn:microsoft.com/office/officeart/2005/8/layout/orgChart1"/>
    <dgm:cxn modelId="{4AF22291-AB4A-4EA0-A54C-80875A7A046D}" srcId="{D4F7164A-9FF1-4F65-82AC-B9F25046820D}" destId="{E6C70B32-CBF9-49A0-AA12-9213BA3C6C7C}" srcOrd="2" destOrd="0" parTransId="{57EB8D8D-0B16-46FA-9CE7-8732E2B4A3E7}" sibTransId="{CE23C833-F71D-4BE5-89FC-FF0979A0B6C5}"/>
    <dgm:cxn modelId="{78282317-6EA9-4AE9-A1C9-7565E088EDC2}" srcId="{3A40DFC6-CEB8-49A2-8A08-61F2AC6F453F}" destId="{D4F561AE-AE9B-4801-A294-6F70D893C01B}" srcOrd="0" destOrd="0" parTransId="{22222F70-B26E-4775-8A77-BAF70CD68F9D}" sibTransId="{5B2428FB-3654-4150-9FB1-AB741903D74D}"/>
    <dgm:cxn modelId="{1691870C-F739-4B58-A939-800BE396A09C}" type="presOf" srcId="{A2015D57-E9D0-42EE-919D-ECB2AFBDDD2A}" destId="{C3848B27-0433-44BA-BE6D-239BB0F24EC4}" srcOrd="0" destOrd="0" presId="urn:microsoft.com/office/officeart/2005/8/layout/orgChart1"/>
    <dgm:cxn modelId="{7E6D439B-0293-4B5B-B85E-E7C027725FE0}" type="presOf" srcId="{ACDB817B-F3A5-4161-A100-2C1D5F463354}" destId="{B9EFE3FB-F3B2-4B6D-A64B-30D567F84C12}" srcOrd="0" destOrd="0" presId="urn:microsoft.com/office/officeart/2005/8/layout/orgChart1"/>
    <dgm:cxn modelId="{D1F3BC44-17F0-4A41-9B9B-D96051BE0025}" type="presOf" srcId="{657DDBB0-B232-4194-9F3D-5CC51B33E0AF}" destId="{F1D8B213-E7FB-47D5-91D5-34AD6DA28EBE}" srcOrd="1" destOrd="0" presId="urn:microsoft.com/office/officeart/2005/8/layout/orgChart1"/>
    <dgm:cxn modelId="{0FAB5B3D-408C-4326-9CDF-C9A38C323CC3}" type="presOf" srcId="{3F7EB55B-D8D2-4616-AB55-F43C43196924}" destId="{BA6BCCB2-245C-4E23-BCCA-8D73A540E1A8}" srcOrd="1" destOrd="0" presId="urn:microsoft.com/office/officeart/2005/8/layout/orgChart1"/>
    <dgm:cxn modelId="{CC01E5C3-CC24-46C8-ACC4-32F5496226DA}" type="presOf" srcId="{E6C70B32-CBF9-49A0-AA12-9213BA3C6C7C}" destId="{4EF84C94-F6CA-484F-B52B-606432443C05}" srcOrd="0" destOrd="0" presId="urn:microsoft.com/office/officeart/2005/8/layout/orgChart1"/>
    <dgm:cxn modelId="{C1965978-1B38-4AD3-825D-77D8FB71BBF4}" srcId="{F81E21DA-FD6E-4C6D-9C53-8BA0BD4A254D}" destId="{1901BCD9-3251-477B-88A0-9A8AED30AFE0}" srcOrd="0" destOrd="0" parTransId="{140717A6-7A7E-4078-ABC0-69623BEAC1F6}" sibTransId="{56FA4343-5CE1-4CB3-8826-3E2F71A2DE3D}"/>
    <dgm:cxn modelId="{21236292-C1EB-402E-B8CE-A440B5909E3E}" type="presOf" srcId="{E486C7BC-A226-4908-AA8C-322269C38028}" destId="{EA6AAE77-03B5-408D-B905-7C72234C7BA9}" srcOrd="1" destOrd="0" presId="urn:microsoft.com/office/officeart/2005/8/layout/orgChart1"/>
    <dgm:cxn modelId="{865E4187-04DB-4642-BCC3-D4852561850B}" type="presOf" srcId="{68373D1D-4601-4977-86D5-94966BFAD2C6}" destId="{9490645C-1D35-4FA6-B6C2-898EFC507F6B}" srcOrd="0" destOrd="0" presId="urn:microsoft.com/office/officeart/2005/8/layout/orgChart1"/>
    <dgm:cxn modelId="{F7ADEEC2-D671-4FB7-B3C2-6B8858D24C8F}" srcId="{85861E5F-C30E-4A16-8BC6-C9614552F674}" destId="{483565DB-47EA-4227-86FC-092B66FAFB9E}" srcOrd="0" destOrd="0" parTransId="{90718E9B-D169-4073-BD0E-5B41BA3032AD}" sibTransId="{8852DD38-8352-4D71-927F-EA520D3958FA}"/>
    <dgm:cxn modelId="{917150C3-1B5C-48CA-B467-ED2DD6695730}" type="presOf" srcId="{453A13CE-3AA3-4C9F-B7F7-90265CCFDBB3}" destId="{AF6EDF22-D0EC-4339-A430-3597838F18C9}" srcOrd="0" destOrd="0" presId="urn:microsoft.com/office/officeart/2005/8/layout/orgChart1"/>
    <dgm:cxn modelId="{6E956DC9-1BA8-42D8-8234-7C707E0933F4}" type="presOf" srcId="{8A00F92C-DA4D-49F2-8792-83558C78879C}" destId="{4CA18A95-1314-4F06-8DDC-B488626E5254}" srcOrd="0" destOrd="0" presId="urn:microsoft.com/office/officeart/2005/8/layout/orgChart1"/>
    <dgm:cxn modelId="{1AEF227A-7594-4B5C-91D4-FD2AD7A0C8BB}" srcId="{F025B426-D849-4AAB-9D97-3E7CAE694742}" destId="{433B7CA0-D2C6-4DB5-B0A0-17F1FFC0F208}" srcOrd="0" destOrd="0" parTransId="{8A00F92C-DA4D-49F2-8792-83558C78879C}" sibTransId="{51E8074C-7A77-4334-8B7C-0064A16817F1}"/>
    <dgm:cxn modelId="{4DB4AFA8-5B27-4D67-9D18-C82F7F70F575}" type="presOf" srcId="{90718E9B-D169-4073-BD0E-5B41BA3032AD}" destId="{402D31B9-40D5-4C8B-9091-10F54BEF1A11}" srcOrd="0" destOrd="0" presId="urn:microsoft.com/office/officeart/2005/8/layout/orgChart1"/>
    <dgm:cxn modelId="{EBD21DF8-3920-4FAC-94AA-BB760C48F3FF}" srcId="{D4F7164A-9FF1-4F65-82AC-B9F25046820D}" destId="{B38FC32D-7CC4-43AF-9124-DCFA0F4DF293}" srcOrd="0" destOrd="0" parTransId="{453A13CE-3AA3-4C9F-B7F7-90265CCFDBB3}" sibTransId="{A9A79CB1-BD10-4FC9-B4A5-33466D736D5B}"/>
    <dgm:cxn modelId="{D1E8F576-F1F9-401E-9BC0-D08085AC9C7D}" type="presOf" srcId="{85861E5F-C30E-4A16-8BC6-C9614552F674}" destId="{2D0C3AD6-1409-4B25-B17F-28C412FD7280}" srcOrd="0" destOrd="0" presId="urn:microsoft.com/office/officeart/2005/8/layout/orgChart1"/>
    <dgm:cxn modelId="{4F2C79C2-591F-4E4F-A5A5-37CB3093AA0F}" type="presOf" srcId="{22222F70-B26E-4775-8A77-BAF70CD68F9D}" destId="{A1EDFBE0-B4F6-4B1D-96C6-DDB3CDC50B58}" srcOrd="0" destOrd="0" presId="urn:microsoft.com/office/officeart/2005/8/layout/orgChart1"/>
    <dgm:cxn modelId="{11DD8D0F-F950-4731-91CD-42052CCD5692}" srcId="{D4F7164A-9FF1-4F65-82AC-B9F25046820D}" destId="{3F7EB55B-D8D2-4616-AB55-F43C43196924}" srcOrd="10" destOrd="0" parTransId="{68373D1D-4601-4977-86D5-94966BFAD2C6}" sibTransId="{1E6293A0-1EE1-4B22-8C6C-DF4E012168B2}"/>
    <dgm:cxn modelId="{8969EEED-26F6-4C19-BE6A-6C5967777068}" type="presOf" srcId="{49936F48-8DD0-493E-85C9-D0AFBA68A87B}" destId="{001B9108-3DA0-4F08-BEA9-00AD4F1FFE1B}" srcOrd="0" destOrd="0" presId="urn:microsoft.com/office/officeart/2005/8/layout/orgChart1"/>
    <dgm:cxn modelId="{5A1B154B-1F2A-4FAC-B22F-D964C4B8CDFD}" type="presOf" srcId="{59E21C72-2D75-4B59-825F-E4B705871538}" destId="{44089CB8-F10E-42BC-A824-8141447EA60E}" srcOrd="1" destOrd="0" presId="urn:microsoft.com/office/officeart/2005/8/layout/orgChart1"/>
    <dgm:cxn modelId="{E7DE839A-E681-4B3E-8EC3-87E51E2C2A4E}" type="presOf" srcId="{1901BCD9-3251-477B-88A0-9A8AED30AFE0}" destId="{AB49B10D-594D-4052-8BC6-C8D2C91852FA}" srcOrd="1" destOrd="0" presId="urn:microsoft.com/office/officeart/2005/8/layout/orgChart1"/>
    <dgm:cxn modelId="{D73ED3AE-2803-44C1-8816-9D39455A34BE}" type="presOf" srcId="{140717A6-7A7E-4078-ABC0-69623BEAC1F6}" destId="{8E216525-7A8C-45E4-9597-88ED3603AF3B}" srcOrd="0" destOrd="0" presId="urn:microsoft.com/office/officeart/2005/8/layout/orgChart1"/>
    <dgm:cxn modelId="{4F17E4F2-D38E-4BE0-89A9-23714CB16B92}" type="presOf" srcId="{1CBE497A-7B05-4572-9238-A69A48D5AD9E}" destId="{30FA22A0-7812-41A9-BA19-68A982AC0FA3}" srcOrd="1" destOrd="0" presId="urn:microsoft.com/office/officeart/2005/8/layout/orgChart1"/>
    <dgm:cxn modelId="{1D34C27F-EBB7-4B47-B38D-0777235B8142}" type="presOf" srcId="{EC53749C-46C7-488D-AA63-655AFD2389C5}" destId="{3EC0F114-690B-48EE-B61F-D4A1BA42BE4E}" srcOrd="0" destOrd="0" presId="urn:microsoft.com/office/officeart/2005/8/layout/orgChart1"/>
    <dgm:cxn modelId="{8B79BB55-E3BE-4250-851C-6E0B3679917A}" type="presOf" srcId="{354C242F-C8DB-4405-8945-6FD36470198A}" destId="{62FEDEBB-EA1B-4261-8C6A-66F124073364}" srcOrd="0" destOrd="0" presId="urn:microsoft.com/office/officeart/2005/8/layout/orgChart1"/>
    <dgm:cxn modelId="{FD39A1EF-914D-433B-89C5-4413665F800D}" type="presOf" srcId="{433B7CA0-D2C6-4DB5-B0A0-17F1FFC0F208}" destId="{5B44B0F0-0ECF-4D7E-A669-29F280868CE3}" srcOrd="1" destOrd="0" presId="urn:microsoft.com/office/officeart/2005/8/layout/orgChart1"/>
    <dgm:cxn modelId="{C63D860E-4688-47A2-9FD6-F991A4F0E435}" type="presOf" srcId="{F025B426-D849-4AAB-9D97-3E7CAE694742}" destId="{0119CCB5-ABF6-4C75-AEA6-56C080297E09}" srcOrd="0" destOrd="0" presId="urn:microsoft.com/office/officeart/2005/8/layout/orgChart1"/>
    <dgm:cxn modelId="{B76C4BB6-3BEE-4BCC-999A-4FC048FD8801}" type="presOf" srcId="{E1E42948-A962-4296-ACD0-73911027A8C2}" destId="{28A3E3D3-48F4-408C-9B3F-08699C1B7736}" srcOrd="1" destOrd="0" presId="urn:microsoft.com/office/officeart/2005/8/layout/orgChart1"/>
    <dgm:cxn modelId="{8F6A349C-BDDC-4C45-8877-A41A7CB342A2}" type="presOf" srcId="{3F7EB55B-D8D2-4616-AB55-F43C43196924}" destId="{CD9C42CA-84C6-4249-A6DE-52164ABC062C}" srcOrd="0" destOrd="0" presId="urn:microsoft.com/office/officeart/2005/8/layout/orgChart1"/>
    <dgm:cxn modelId="{38B173EC-E3B9-44AD-8094-8C3AAAE6FE22}" type="presOf" srcId="{3A40DFC6-CEB8-49A2-8A08-61F2AC6F453F}" destId="{B0AB5278-3EC8-4898-9375-770F4AA7E79E}" srcOrd="0" destOrd="0" presId="urn:microsoft.com/office/officeart/2005/8/layout/orgChart1"/>
    <dgm:cxn modelId="{A89B1A0E-D5A6-4437-AFD4-05F1AF74ED77}" type="presOf" srcId="{1CBE497A-7B05-4572-9238-A69A48D5AD9E}" destId="{72C42CCE-0697-451F-A619-0945EEDFD849}" srcOrd="0" destOrd="0" presId="urn:microsoft.com/office/officeart/2005/8/layout/orgChart1"/>
    <dgm:cxn modelId="{BC197169-1577-49C9-8D0F-B44B07F41FDE}" type="presOf" srcId="{CA0406F1-12F9-4404-A7A5-712E89F79CB5}" destId="{39ECFB7D-FDA4-487D-9339-86F469AB46BD}" srcOrd="0" destOrd="0" presId="urn:microsoft.com/office/officeart/2005/8/layout/orgChart1"/>
    <dgm:cxn modelId="{942E9AC1-CBDD-4DFD-84EA-19954C7D3972}" type="presOf" srcId="{F4D9181E-205E-464C-9BC7-95DE1A2BA8D5}" destId="{F52CFAC0-7F97-469C-ACEB-60DE9381E113}" srcOrd="0" destOrd="0" presId="urn:microsoft.com/office/officeart/2005/8/layout/orgChart1"/>
    <dgm:cxn modelId="{E859286C-0841-4E4B-9699-AA9B4127FC30}" type="presOf" srcId="{85861E5F-C30E-4A16-8BC6-C9614552F674}" destId="{AC9CC239-211E-42DB-8F1F-2C1755762075}" srcOrd="1" destOrd="0" presId="urn:microsoft.com/office/officeart/2005/8/layout/orgChart1"/>
    <dgm:cxn modelId="{25364689-461F-4DC9-9A75-555768F12162}" type="presOf" srcId="{433B7CA0-D2C6-4DB5-B0A0-17F1FFC0F208}" destId="{11DA6F3D-3B6C-4AAB-9BD3-3B384CC501A3}" srcOrd="0" destOrd="0" presId="urn:microsoft.com/office/officeart/2005/8/layout/orgChart1"/>
    <dgm:cxn modelId="{1F7C51E2-BBC9-4B8E-B1C0-6CF750EEF662}" srcId="{D4F7164A-9FF1-4F65-82AC-B9F25046820D}" destId="{3A40DFC6-CEB8-49A2-8A08-61F2AC6F453F}" srcOrd="6" destOrd="0" parTransId="{49936F48-8DD0-493E-85C9-D0AFBA68A87B}" sibTransId="{E5952D7E-7917-4B83-A4E3-0367D08CEC3E}"/>
    <dgm:cxn modelId="{F7BE5268-7B20-4113-96D9-8A548A23BAD0}" srcId="{59E21C72-2D75-4B59-825F-E4B705871538}" destId="{354C242F-C8DB-4405-8945-6FD36470198A}" srcOrd="0" destOrd="0" parTransId="{CD116555-1465-4323-9676-8264DF6ACBD0}" sibTransId="{C5EBA818-2221-460F-9098-D108DC8C9243}"/>
    <dgm:cxn modelId="{16CBB304-00F9-4456-9766-11464AADF407}" type="presOf" srcId="{E9801196-6D03-48AB-B988-68FF40EDD9E3}" destId="{79AA34D1-285F-498D-AD9D-EB676762D840}" srcOrd="1" destOrd="0" presId="urn:microsoft.com/office/officeart/2005/8/layout/orgChart1"/>
    <dgm:cxn modelId="{5E2AA2CA-6BFC-4E3D-8E37-2DC2E6C4CD3B}" type="presOf" srcId="{AF8AC138-CD7D-4835-AF71-CA3CEA42175C}" destId="{9310D08C-D34F-46E1-AF23-996B59E83490}" srcOrd="1" destOrd="0" presId="urn:microsoft.com/office/officeart/2005/8/layout/orgChart1"/>
    <dgm:cxn modelId="{4C5B212D-3C03-4814-953F-25E6BC8A7655}" srcId="{D4F7164A-9FF1-4F65-82AC-B9F25046820D}" destId="{85861E5F-C30E-4A16-8BC6-C9614552F674}" srcOrd="4" destOrd="0" parTransId="{CA0406F1-12F9-4404-A7A5-712E89F79CB5}" sibTransId="{A8F1A468-280D-46A5-8CF4-CAF69197C5FA}"/>
    <dgm:cxn modelId="{C7A2E8A6-636B-4BE1-8C96-D63F48A8DF35}" type="presOf" srcId="{04F33FD6-897F-4277-AECC-4314F4397BDA}" destId="{274AC589-5C04-492F-A1F9-EA1EE8B1FAD0}" srcOrd="0" destOrd="0" presId="urn:microsoft.com/office/officeart/2005/8/layout/orgChart1"/>
    <dgm:cxn modelId="{976826CD-BD37-4F63-A6AC-3715ECC91908}" type="presOf" srcId="{D4F7164A-9FF1-4F65-82AC-B9F25046820D}" destId="{29C069AF-0F32-4313-A944-D801ABD5C11A}" srcOrd="0" destOrd="0" presId="urn:microsoft.com/office/officeart/2005/8/layout/orgChart1"/>
    <dgm:cxn modelId="{10447344-7FFB-4F9D-859A-01D28EBC5D79}" type="presOf" srcId="{D4F7164A-9FF1-4F65-82AC-B9F25046820D}" destId="{58D4351F-B03C-4F5E-828A-08731C325D0C}" srcOrd="1" destOrd="0" presId="urn:microsoft.com/office/officeart/2005/8/layout/orgChart1"/>
    <dgm:cxn modelId="{B62938A1-CF7C-4AE9-9BC9-854DD3A775F7}" srcId="{D4F7164A-9FF1-4F65-82AC-B9F25046820D}" destId="{E9801196-6D03-48AB-B988-68FF40EDD9E3}" srcOrd="12" destOrd="0" parTransId="{38F2A94C-DA89-4D87-B65E-E804A4874A9B}" sibTransId="{90A59A97-2839-4CCD-AABD-2F2AB6C7F1FE}"/>
    <dgm:cxn modelId="{5F430648-9FE3-4316-B51C-A0F6641C6FFC}" type="presOf" srcId="{A2015D57-E9D0-42EE-919D-ECB2AFBDDD2A}" destId="{6195C32A-4876-4BE2-B055-6CFB620E1283}" srcOrd="1" destOrd="0" presId="urn:microsoft.com/office/officeart/2005/8/layout/orgChart1"/>
    <dgm:cxn modelId="{BD05F986-20D6-4EAF-A4E6-6307D1DFBA38}" srcId="{1CBE497A-7B05-4572-9238-A69A48D5AD9E}" destId="{A2CAC21C-D384-4D5E-9C90-5DA22A5E2D02}" srcOrd="0" destOrd="0" parTransId="{A8458212-D3CC-4720-A439-22475D5DDFAE}" sibTransId="{C5EAC679-09A0-48B1-8F5C-34C797F1C587}"/>
    <dgm:cxn modelId="{4DA507B5-732C-4C50-BAA3-F41DDE56FD9A}" type="presOf" srcId="{B38FC32D-7CC4-43AF-9124-DCFA0F4DF293}" destId="{55AC39B6-E2E1-4A6D-8C5E-FBC75C7A6F00}" srcOrd="1" destOrd="0" presId="urn:microsoft.com/office/officeart/2005/8/layout/orgChart1"/>
    <dgm:cxn modelId="{6062207F-51AE-491C-9C34-6145540B5528}" type="presOf" srcId="{59E21C72-2D75-4B59-825F-E4B705871538}" destId="{6FDEB2FC-CC9A-4BCC-AD31-91C660A6F016}" srcOrd="0" destOrd="0" presId="urn:microsoft.com/office/officeart/2005/8/layout/orgChart1"/>
    <dgm:cxn modelId="{ECFEF685-FF19-418E-A2A1-53935F2E0C0B}" srcId="{A2CB7522-71E6-45BD-8660-5E1074722354}" destId="{E486C7BC-A226-4908-AA8C-322269C38028}" srcOrd="0" destOrd="0" parTransId="{5960AC1E-504F-43F6-8112-A10D0F41E60B}" sibTransId="{C28AB5EB-F310-410A-B275-DF8B30C62AD3}"/>
    <dgm:cxn modelId="{D001B61F-44F5-44F4-A676-231CBEC07CD6}" type="presOf" srcId="{E486C7BC-A226-4908-AA8C-322269C38028}" destId="{591ECE7D-1FEC-46A0-A4DB-C298D2AE9D8A}" srcOrd="0" destOrd="0" presId="urn:microsoft.com/office/officeart/2005/8/layout/orgChart1"/>
    <dgm:cxn modelId="{0FDC5423-6107-4605-B763-809530CF20A6}" type="presOf" srcId="{483565DB-47EA-4227-86FC-092B66FAFB9E}" destId="{746DF9F1-8BE0-4810-AB46-D6252566B9BA}" srcOrd="1" destOrd="0" presId="urn:microsoft.com/office/officeart/2005/8/layout/orgChart1"/>
    <dgm:cxn modelId="{8431E1FD-48F7-4927-B2D6-F29F284B38A3}" type="presOf" srcId="{F31D1F19-D0F6-4E46-A5D6-BA4A28EEC0AD}" destId="{57AAD1CB-E4AB-49EC-A501-6ABAD8E32C92}" srcOrd="0" destOrd="0" presId="urn:microsoft.com/office/officeart/2005/8/layout/orgChart1"/>
    <dgm:cxn modelId="{5A4FB00A-969D-409B-955A-D13363495F0F}" type="presOf" srcId="{57E2656F-B0F0-4934-B9F0-BEF0BDA7831B}" destId="{57B71D01-2243-46FB-A062-2CACC7346822}" srcOrd="0" destOrd="0" presId="urn:microsoft.com/office/officeart/2005/8/layout/orgChart1"/>
    <dgm:cxn modelId="{B58068BE-DA53-4DB6-B6D8-7460D222B2F4}" srcId="{D4F7164A-9FF1-4F65-82AC-B9F25046820D}" destId="{F025B426-D849-4AAB-9D97-3E7CAE694742}" srcOrd="11" destOrd="0" parTransId="{111624A8-D334-4DB0-8E6B-C592093EF977}" sibTransId="{53FF20C0-8251-4740-9F6C-A1D47BAE4AD4}"/>
    <dgm:cxn modelId="{FCD8FC2D-7CC2-4AFE-A89F-F67BFB0E7365}" type="presOf" srcId="{A2CB7522-71E6-45BD-8660-5E1074722354}" destId="{C1B7640B-16DF-4CA4-9091-CA7D0179C5BA}" srcOrd="0" destOrd="0" presId="urn:microsoft.com/office/officeart/2005/8/layout/orgChart1"/>
    <dgm:cxn modelId="{E8678C8A-DBBA-4FE0-AA59-7AFC12A219DF}" type="presOf" srcId="{A2CAC21C-D384-4D5E-9C90-5DA22A5E2D02}" destId="{18E7B84C-7128-40E4-B20D-0153489451E2}" srcOrd="0" destOrd="0" presId="urn:microsoft.com/office/officeart/2005/8/layout/orgChart1"/>
    <dgm:cxn modelId="{D1070E81-01C3-4A93-B695-3E5322EE896D}" type="presOf" srcId="{3A40DFC6-CEB8-49A2-8A08-61F2AC6F453F}" destId="{F066C3BA-3E53-4636-93F3-C2E31E911888}" srcOrd="1" destOrd="0" presId="urn:microsoft.com/office/officeart/2005/8/layout/orgChart1"/>
    <dgm:cxn modelId="{91B8989D-4F9C-45A1-87FC-47A268FBC022}" type="presOf" srcId="{1901BCD9-3251-477B-88A0-9A8AED30AFE0}" destId="{4E90235C-3906-45B2-81E2-69236A8E39C0}" srcOrd="0" destOrd="0" presId="urn:microsoft.com/office/officeart/2005/8/layout/orgChart1"/>
    <dgm:cxn modelId="{4C29024E-D508-46C2-AF73-AF1A020B4CD3}" type="presOf" srcId="{5960AC1E-504F-43F6-8112-A10D0F41E60B}" destId="{8BD0E905-DE28-4237-A39F-84EE977A1A87}" srcOrd="0" destOrd="0" presId="urn:microsoft.com/office/officeart/2005/8/layout/orgChart1"/>
    <dgm:cxn modelId="{EA8AB205-FC08-4971-9D91-F230199C7426}" type="presOf" srcId="{E1E42948-A962-4296-ACD0-73911027A8C2}" destId="{6901B29F-5C4C-441E-8C99-96265A226EF6}" srcOrd="0" destOrd="0" presId="urn:microsoft.com/office/officeart/2005/8/layout/orgChart1"/>
    <dgm:cxn modelId="{4157CF8F-E156-419B-967C-01A62E7B29EA}" srcId="{AF8AC138-CD7D-4835-AF71-CA3CEA42175C}" destId="{A2015D57-E9D0-42EE-919D-ECB2AFBDDD2A}" srcOrd="0" destOrd="0" parTransId="{F31D1F19-D0F6-4E46-A5D6-BA4A28EEC0AD}" sibTransId="{1C33D129-9E8F-4F55-BB01-A9F786512EA4}"/>
    <dgm:cxn modelId="{827CE3B9-AB51-4817-A494-E3BF4C8BE02E}" type="presParOf" srcId="{9E4D289C-8366-4266-BE1C-FAD71A417349}" destId="{11225A69-476A-48D5-8BD3-B796A30A35FB}" srcOrd="0" destOrd="0" presId="urn:microsoft.com/office/officeart/2005/8/layout/orgChart1"/>
    <dgm:cxn modelId="{12F9168E-6E6F-4339-AD00-0758170BCE84}" type="presParOf" srcId="{11225A69-476A-48D5-8BD3-B796A30A35FB}" destId="{B9A3CB7B-DCD5-4BBB-822A-2F73016375B0}" srcOrd="0" destOrd="0" presId="urn:microsoft.com/office/officeart/2005/8/layout/orgChart1"/>
    <dgm:cxn modelId="{F865A81E-F9CE-47EE-87D4-8DEB15B2E968}" type="presParOf" srcId="{B9A3CB7B-DCD5-4BBB-822A-2F73016375B0}" destId="{6901B29F-5C4C-441E-8C99-96265A226EF6}" srcOrd="0" destOrd="0" presId="urn:microsoft.com/office/officeart/2005/8/layout/orgChart1"/>
    <dgm:cxn modelId="{9F80B715-10A7-41C4-A026-FDF7ABEB1FDB}" type="presParOf" srcId="{B9A3CB7B-DCD5-4BBB-822A-2F73016375B0}" destId="{28A3E3D3-48F4-408C-9B3F-08699C1B7736}" srcOrd="1" destOrd="0" presId="urn:microsoft.com/office/officeart/2005/8/layout/orgChart1"/>
    <dgm:cxn modelId="{80F7A2D2-766D-4761-9BF6-FBC37D57E03F}" type="presParOf" srcId="{11225A69-476A-48D5-8BD3-B796A30A35FB}" destId="{25C5EB76-18ED-4F96-A046-5666D3B983EE}" srcOrd="1" destOrd="0" presId="urn:microsoft.com/office/officeart/2005/8/layout/orgChart1"/>
    <dgm:cxn modelId="{14DB5C22-39A9-48F9-846F-CE6019A9D1D4}" type="presParOf" srcId="{25C5EB76-18ED-4F96-A046-5666D3B983EE}" destId="{67C4F6B6-3394-41B7-8B0E-F80DFCBD19DB}" srcOrd="0" destOrd="0" presId="urn:microsoft.com/office/officeart/2005/8/layout/orgChart1"/>
    <dgm:cxn modelId="{40E1CFE3-93E2-4B9D-B3CC-9A945686921F}" type="presParOf" srcId="{25C5EB76-18ED-4F96-A046-5666D3B983EE}" destId="{53562A46-3A6F-48C1-8B86-0666ECC1CCC6}" srcOrd="1" destOrd="0" presId="urn:microsoft.com/office/officeart/2005/8/layout/orgChart1"/>
    <dgm:cxn modelId="{8A4FAA65-6BF9-4A35-B327-311086B8E301}" type="presParOf" srcId="{53562A46-3A6F-48C1-8B86-0666ECC1CCC6}" destId="{22F3B5E6-8312-479D-8469-8FF17BF963BE}" srcOrd="0" destOrd="0" presId="urn:microsoft.com/office/officeart/2005/8/layout/orgChart1"/>
    <dgm:cxn modelId="{6B83BA6F-F557-47BD-922B-213971B66D36}" type="presParOf" srcId="{22F3B5E6-8312-479D-8469-8FF17BF963BE}" destId="{29C069AF-0F32-4313-A944-D801ABD5C11A}" srcOrd="0" destOrd="0" presId="urn:microsoft.com/office/officeart/2005/8/layout/orgChart1"/>
    <dgm:cxn modelId="{EEE68A8C-BD2C-48DC-959E-5496335B3B33}" type="presParOf" srcId="{22F3B5E6-8312-479D-8469-8FF17BF963BE}" destId="{58D4351F-B03C-4F5E-828A-08731C325D0C}" srcOrd="1" destOrd="0" presId="urn:microsoft.com/office/officeart/2005/8/layout/orgChart1"/>
    <dgm:cxn modelId="{C9B8C590-BE82-4E62-902A-DE3B314B539B}" type="presParOf" srcId="{53562A46-3A6F-48C1-8B86-0666ECC1CCC6}" destId="{7C9B22A8-D66C-4D09-9002-4CF5399A51BE}" srcOrd="1" destOrd="0" presId="urn:microsoft.com/office/officeart/2005/8/layout/orgChart1"/>
    <dgm:cxn modelId="{6E99A448-5817-4B81-85AF-4B456DC3D86D}" type="presParOf" srcId="{7C9B22A8-D66C-4D09-9002-4CF5399A51BE}" destId="{A22C3F9D-C7C3-4B61-9508-E43989E16DF9}" srcOrd="0" destOrd="0" presId="urn:microsoft.com/office/officeart/2005/8/layout/orgChart1"/>
    <dgm:cxn modelId="{B9B89BC4-FA95-4EB0-BDC2-F0897218C3AA}" type="presParOf" srcId="{7C9B22A8-D66C-4D09-9002-4CF5399A51BE}" destId="{FF5778D5-8C0E-44AE-87DA-80E5DE1A6DC1}" srcOrd="1" destOrd="0" presId="urn:microsoft.com/office/officeart/2005/8/layout/orgChart1"/>
    <dgm:cxn modelId="{AFD9C95F-00CC-486A-89CD-C9062398EF75}" type="presParOf" srcId="{FF5778D5-8C0E-44AE-87DA-80E5DE1A6DC1}" destId="{70D8B970-2919-4D37-8A12-5F5005E23B1E}" srcOrd="0" destOrd="0" presId="urn:microsoft.com/office/officeart/2005/8/layout/orgChart1"/>
    <dgm:cxn modelId="{A4A51711-7A26-45AB-B04F-A3D2E1ABD6AD}" type="presParOf" srcId="{70D8B970-2919-4D37-8A12-5F5005E23B1E}" destId="{C1B7640B-16DF-4CA4-9091-CA7D0179C5BA}" srcOrd="0" destOrd="0" presId="urn:microsoft.com/office/officeart/2005/8/layout/orgChart1"/>
    <dgm:cxn modelId="{E37D70DF-D230-464B-962F-3BC785B210CC}" type="presParOf" srcId="{70D8B970-2919-4D37-8A12-5F5005E23B1E}" destId="{6173A63C-8DE8-4294-9F60-D4BAFB4995C8}" srcOrd="1" destOrd="0" presId="urn:microsoft.com/office/officeart/2005/8/layout/orgChart1"/>
    <dgm:cxn modelId="{AF3E7341-EB8D-41B0-BD38-1C27245974F6}" type="presParOf" srcId="{FF5778D5-8C0E-44AE-87DA-80E5DE1A6DC1}" destId="{07853D58-CD0E-4178-A11F-6F35DA30D68C}" srcOrd="1" destOrd="0" presId="urn:microsoft.com/office/officeart/2005/8/layout/orgChart1"/>
    <dgm:cxn modelId="{B3BF8A83-B146-4D0E-9BC5-9E9A460EE0A1}" type="presParOf" srcId="{07853D58-CD0E-4178-A11F-6F35DA30D68C}" destId="{8BD0E905-DE28-4237-A39F-84EE977A1A87}" srcOrd="0" destOrd="0" presId="urn:microsoft.com/office/officeart/2005/8/layout/orgChart1"/>
    <dgm:cxn modelId="{5D49E6D7-556E-41C3-87A4-3217455B5401}" type="presParOf" srcId="{07853D58-CD0E-4178-A11F-6F35DA30D68C}" destId="{99E7240E-A6DA-43AD-8065-822E987969B3}" srcOrd="1" destOrd="0" presId="urn:microsoft.com/office/officeart/2005/8/layout/orgChart1"/>
    <dgm:cxn modelId="{E927C3B3-EFE2-4CCE-80CE-B93B47809A10}" type="presParOf" srcId="{99E7240E-A6DA-43AD-8065-822E987969B3}" destId="{AD9FB25F-73A7-442C-A961-EDEA8375B677}" srcOrd="0" destOrd="0" presId="urn:microsoft.com/office/officeart/2005/8/layout/orgChart1"/>
    <dgm:cxn modelId="{A5063AEF-052A-4682-9265-DED30396209E}" type="presParOf" srcId="{AD9FB25F-73A7-442C-A961-EDEA8375B677}" destId="{591ECE7D-1FEC-46A0-A4DB-C298D2AE9D8A}" srcOrd="0" destOrd="0" presId="urn:microsoft.com/office/officeart/2005/8/layout/orgChart1"/>
    <dgm:cxn modelId="{4CAECFE6-5154-4A22-BF85-CB89366B4D5D}" type="presParOf" srcId="{AD9FB25F-73A7-442C-A961-EDEA8375B677}" destId="{EA6AAE77-03B5-408D-B905-7C72234C7BA9}" srcOrd="1" destOrd="0" presId="urn:microsoft.com/office/officeart/2005/8/layout/orgChart1"/>
    <dgm:cxn modelId="{F2956B2B-132A-44C1-B4D1-B617CBD56483}" type="presParOf" srcId="{99E7240E-A6DA-43AD-8065-822E987969B3}" destId="{7645830C-F29E-4600-8FFD-A313BDF23D41}" srcOrd="1" destOrd="0" presId="urn:microsoft.com/office/officeart/2005/8/layout/orgChart1"/>
    <dgm:cxn modelId="{8705C93A-9286-4F5A-A62C-0C125D404310}" type="presParOf" srcId="{99E7240E-A6DA-43AD-8065-822E987969B3}" destId="{111D078B-BBB3-4C20-9DE9-E2647AC9368D}" srcOrd="2" destOrd="0" presId="urn:microsoft.com/office/officeart/2005/8/layout/orgChart1"/>
    <dgm:cxn modelId="{83D432E3-4A4E-44F1-8689-1C8045EB0185}" type="presParOf" srcId="{FF5778D5-8C0E-44AE-87DA-80E5DE1A6DC1}" destId="{2ECF897C-3F46-4C37-959B-65E30A4BAD47}" srcOrd="2" destOrd="0" presId="urn:microsoft.com/office/officeart/2005/8/layout/orgChart1"/>
    <dgm:cxn modelId="{B6AD483A-3D13-4465-A715-93CDC43D5CC2}" type="presParOf" srcId="{7C9B22A8-D66C-4D09-9002-4CF5399A51BE}" destId="{F52CFAC0-7F97-469C-ACEB-60DE9381E113}" srcOrd="2" destOrd="0" presId="urn:microsoft.com/office/officeart/2005/8/layout/orgChart1"/>
    <dgm:cxn modelId="{3A02DE39-DBF5-4991-9C80-1A7D51B9106D}" type="presParOf" srcId="{7C9B22A8-D66C-4D09-9002-4CF5399A51BE}" destId="{2A27C0BE-BF40-4F39-81BD-F0ACE39309C8}" srcOrd="3" destOrd="0" presId="urn:microsoft.com/office/officeart/2005/8/layout/orgChart1"/>
    <dgm:cxn modelId="{05AC5DB1-23F9-4EC8-A4D9-3C63AB74716A}" type="presParOf" srcId="{2A27C0BE-BF40-4F39-81BD-F0ACE39309C8}" destId="{314F6A16-B199-4724-BA80-279FF7BAFC06}" srcOrd="0" destOrd="0" presId="urn:microsoft.com/office/officeart/2005/8/layout/orgChart1"/>
    <dgm:cxn modelId="{1F4ECD22-1B6B-4D47-8362-8F9A426FFC13}" type="presParOf" srcId="{314F6A16-B199-4724-BA80-279FF7BAFC06}" destId="{60809CFC-1EAE-4630-85D1-DFA965F4F688}" srcOrd="0" destOrd="0" presId="urn:microsoft.com/office/officeart/2005/8/layout/orgChart1"/>
    <dgm:cxn modelId="{CD473064-AF40-4C5A-A40F-AA140B3C9EF8}" type="presParOf" srcId="{314F6A16-B199-4724-BA80-279FF7BAFC06}" destId="{F1D8B213-E7FB-47D5-91D5-34AD6DA28EBE}" srcOrd="1" destOrd="0" presId="urn:microsoft.com/office/officeart/2005/8/layout/orgChart1"/>
    <dgm:cxn modelId="{59AD092C-E2A6-495A-9C22-A46DFE85CDA1}" type="presParOf" srcId="{2A27C0BE-BF40-4F39-81BD-F0ACE39309C8}" destId="{A87DD6C7-302B-4E0A-BD37-FC19A510F874}" srcOrd="1" destOrd="0" presId="urn:microsoft.com/office/officeart/2005/8/layout/orgChart1"/>
    <dgm:cxn modelId="{2797C263-64A3-4BF0-B2D7-5FA74D66B616}" type="presParOf" srcId="{A87DD6C7-302B-4E0A-BD37-FC19A510F874}" destId="{881A8613-4A1F-478C-B0E5-042024217EC5}" srcOrd="0" destOrd="0" presId="urn:microsoft.com/office/officeart/2005/8/layout/orgChart1"/>
    <dgm:cxn modelId="{1B3BBAB8-827A-48BC-99DA-45815A4F6E22}" type="presParOf" srcId="{A87DD6C7-302B-4E0A-BD37-FC19A510F874}" destId="{4B353E12-2C75-43DA-99C3-DF0380D22621}" srcOrd="1" destOrd="0" presId="urn:microsoft.com/office/officeart/2005/8/layout/orgChart1"/>
    <dgm:cxn modelId="{D3915661-CAEA-4678-9617-574D6956954E}" type="presParOf" srcId="{4B353E12-2C75-43DA-99C3-DF0380D22621}" destId="{16A3F869-929B-4ABF-A4EB-9571808DE522}" srcOrd="0" destOrd="0" presId="urn:microsoft.com/office/officeart/2005/8/layout/orgChart1"/>
    <dgm:cxn modelId="{7FDD9423-77F9-4D65-9C0C-4241BA6E7995}" type="presParOf" srcId="{16A3F869-929B-4ABF-A4EB-9571808DE522}" destId="{8B0B53AA-926B-42BF-8410-051F1BA91A19}" srcOrd="0" destOrd="0" presId="urn:microsoft.com/office/officeart/2005/8/layout/orgChart1"/>
    <dgm:cxn modelId="{AB57D3EC-5A68-43E3-9719-DAF553F1E6BF}" type="presParOf" srcId="{16A3F869-929B-4ABF-A4EB-9571808DE522}" destId="{3D630D37-CAF8-421C-940D-71074AC44FC2}" srcOrd="1" destOrd="0" presId="urn:microsoft.com/office/officeart/2005/8/layout/orgChart1"/>
    <dgm:cxn modelId="{48AF0F7A-92E1-4138-B3EB-22133F2045DE}" type="presParOf" srcId="{4B353E12-2C75-43DA-99C3-DF0380D22621}" destId="{D6C8FD12-5A3B-4C60-A8E9-38C3FDC841A9}" srcOrd="1" destOrd="0" presId="urn:microsoft.com/office/officeart/2005/8/layout/orgChart1"/>
    <dgm:cxn modelId="{08DEF191-2E86-47F4-AD8C-5F970ED39A97}" type="presParOf" srcId="{4B353E12-2C75-43DA-99C3-DF0380D22621}" destId="{184E684C-2542-4169-8BED-C3845B356D70}" srcOrd="2" destOrd="0" presId="urn:microsoft.com/office/officeart/2005/8/layout/orgChart1"/>
    <dgm:cxn modelId="{5B9B6A4C-1779-4FDA-9E85-6C9E1AE9EFFA}" type="presParOf" srcId="{2A27C0BE-BF40-4F39-81BD-F0ACE39309C8}" destId="{5980FF72-47F6-4495-B0F8-BD0C72BF8A54}" srcOrd="2" destOrd="0" presId="urn:microsoft.com/office/officeart/2005/8/layout/orgChart1"/>
    <dgm:cxn modelId="{EBF30AAA-C8DB-460E-8B84-ECE8DAA95CF7}" type="presParOf" srcId="{7C9B22A8-D66C-4D09-9002-4CF5399A51BE}" destId="{39ECFB7D-FDA4-487D-9339-86F469AB46BD}" srcOrd="4" destOrd="0" presId="urn:microsoft.com/office/officeart/2005/8/layout/orgChart1"/>
    <dgm:cxn modelId="{80AF1CCF-5FDE-43AE-A161-C421EBC3ED93}" type="presParOf" srcId="{7C9B22A8-D66C-4D09-9002-4CF5399A51BE}" destId="{3BC80181-6316-4023-BF9B-80DB25C6C86E}" srcOrd="5" destOrd="0" presId="urn:microsoft.com/office/officeart/2005/8/layout/orgChart1"/>
    <dgm:cxn modelId="{727C8896-0A6E-4E0C-B190-096EF27576D5}" type="presParOf" srcId="{3BC80181-6316-4023-BF9B-80DB25C6C86E}" destId="{C340E83D-F201-45AF-87A0-892636D0C457}" srcOrd="0" destOrd="0" presId="urn:microsoft.com/office/officeart/2005/8/layout/orgChart1"/>
    <dgm:cxn modelId="{7274FDC9-F715-479B-BC1F-872F14D13074}" type="presParOf" srcId="{C340E83D-F201-45AF-87A0-892636D0C457}" destId="{2D0C3AD6-1409-4B25-B17F-28C412FD7280}" srcOrd="0" destOrd="0" presId="urn:microsoft.com/office/officeart/2005/8/layout/orgChart1"/>
    <dgm:cxn modelId="{74FD4C18-2D19-4850-872D-8EA636F6EDB4}" type="presParOf" srcId="{C340E83D-F201-45AF-87A0-892636D0C457}" destId="{AC9CC239-211E-42DB-8F1F-2C1755762075}" srcOrd="1" destOrd="0" presId="urn:microsoft.com/office/officeart/2005/8/layout/orgChart1"/>
    <dgm:cxn modelId="{35F11232-2A7D-44BA-9DF5-77569A2C09F7}" type="presParOf" srcId="{3BC80181-6316-4023-BF9B-80DB25C6C86E}" destId="{9AB59971-12EE-4E48-A5A0-6E18FCC94156}" srcOrd="1" destOrd="0" presId="urn:microsoft.com/office/officeart/2005/8/layout/orgChart1"/>
    <dgm:cxn modelId="{2EDA51B1-8DBF-47B8-83D3-9CF1B6FE5820}" type="presParOf" srcId="{9AB59971-12EE-4E48-A5A0-6E18FCC94156}" destId="{402D31B9-40D5-4C8B-9091-10F54BEF1A11}" srcOrd="0" destOrd="0" presId="urn:microsoft.com/office/officeart/2005/8/layout/orgChart1"/>
    <dgm:cxn modelId="{C1F43C6F-0023-48F5-B300-810E9922C604}" type="presParOf" srcId="{9AB59971-12EE-4E48-A5A0-6E18FCC94156}" destId="{373E12B9-9816-42CE-9614-7A2093AE4D23}" srcOrd="1" destOrd="0" presId="urn:microsoft.com/office/officeart/2005/8/layout/orgChart1"/>
    <dgm:cxn modelId="{42D1480D-2131-4C68-B7EA-FB4FFCA36CDA}" type="presParOf" srcId="{373E12B9-9816-42CE-9614-7A2093AE4D23}" destId="{993775C7-8F15-472D-98CE-E06F7734FCC6}" srcOrd="0" destOrd="0" presId="urn:microsoft.com/office/officeart/2005/8/layout/orgChart1"/>
    <dgm:cxn modelId="{1803EB06-7FA3-4F8D-B179-791E0485A8EE}" type="presParOf" srcId="{993775C7-8F15-472D-98CE-E06F7734FCC6}" destId="{8F0A2041-DAA7-44C4-B980-8E6EDF3F57E5}" srcOrd="0" destOrd="0" presId="urn:microsoft.com/office/officeart/2005/8/layout/orgChart1"/>
    <dgm:cxn modelId="{9C679BED-AECD-446D-A899-D5B8294FD12E}" type="presParOf" srcId="{993775C7-8F15-472D-98CE-E06F7734FCC6}" destId="{746DF9F1-8BE0-4810-AB46-D6252566B9BA}" srcOrd="1" destOrd="0" presId="urn:microsoft.com/office/officeart/2005/8/layout/orgChart1"/>
    <dgm:cxn modelId="{49235AEF-3E9F-4036-9AFA-EC9B6F3A6018}" type="presParOf" srcId="{373E12B9-9816-42CE-9614-7A2093AE4D23}" destId="{130498E2-5A68-438E-B1D1-E004588D8AC2}" srcOrd="1" destOrd="0" presId="urn:microsoft.com/office/officeart/2005/8/layout/orgChart1"/>
    <dgm:cxn modelId="{20EF41BF-498D-4370-A5F5-F36D8837A142}" type="presParOf" srcId="{373E12B9-9816-42CE-9614-7A2093AE4D23}" destId="{E82E3051-F5EA-49AF-A6F0-8E09ECD133EE}" srcOrd="2" destOrd="0" presId="urn:microsoft.com/office/officeart/2005/8/layout/orgChart1"/>
    <dgm:cxn modelId="{EA806B43-1C8E-41E6-A383-68C2CAEB09DB}" type="presParOf" srcId="{3BC80181-6316-4023-BF9B-80DB25C6C86E}" destId="{9989F863-589F-467C-AA26-A65D3589B1C3}" srcOrd="2" destOrd="0" presId="urn:microsoft.com/office/officeart/2005/8/layout/orgChart1"/>
    <dgm:cxn modelId="{B81E8FD3-1451-4D7B-82E1-E61661196120}" type="presParOf" srcId="{7C9B22A8-D66C-4D09-9002-4CF5399A51BE}" destId="{3EC0F114-690B-48EE-B61F-D4A1BA42BE4E}" srcOrd="6" destOrd="0" presId="urn:microsoft.com/office/officeart/2005/8/layout/orgChart1"/>
    <dgm:cxn modelId="{1282279D-FF46-47C5-91DF-29728261C84A}" type="presParOf" srcId="{7C9B22A8-D66C-4D09-9002-4CF5399A51BE}" destId="{9C016EDB-41DD-4855-A05D-8686EE584106}" srcOrd="7" destOrd="0" presId="urn:microsoft.com/office/officeart/2005/8/layout/orgChart1"/>
    <dgm:cxn modelId="{92D0DD6F-D8F1-4101-94B2-274B7E3174A1}" type="presParOf" srcId="{9C016EDB-41DD-4855-A05D-8686EE584106}" destId="{A361F840-2748-4F41-B775-3CA7F853F3B1}" srcOrd="0" destOrd="0" presId="urn:microsoft.com/office/officeart/2005/8/layout/orgChart1"/>
    <dgm:cxn modelId="{358EA4D8-E527-4985-9901-F223D28E463A}" type="presParOf" srcId="{A361F840-2748-4F41-B775-3CA7F853F3B1}" destId="{8F3C0838-EAD2-4337-808B-2DCD768D9FE9}" srcOrd="0" destOrd="0" presId="urn:microsoft.com/office/officeart/2005/8/layout/orgChart1"/>
    <dgm:cxn modelId="{B3D977A9-1E3B-4B76-BA90-E83FA7E885B5}" type="presParOf" srcId="{A361F840-2748-4F41-B775-3CA7F853F3B1}" destId="{8535457D-07BF-4A9D-A749-6851B2037068}" srcOrd="1" destOrd="0" presId="urn:microsoft.com/office/officeart/2005/8/layout/orgChart1"/>
    <dgm:cxn modelId="{9596D997-AA95-4814-B138-852AF02D11BA}" type="presParOf" srcId="{9C016EDB-41DD-4855-A05D-8686EE584106}" destId="{8BDB22CA-2BE7-4027-BC54-5A0B1125D0E7}" srcOrd="1" destOrd="0" presId="urn:microsoft.com/office/officeart/2005/8/layout/orgChart1"/>
    <dgm:cxn modelId="{46E24EE4-E0F4-4BFA-BD01-94B2D5A2FFDE}" type="presParOf" srcId="{8BDB22CA-2BE7-4027-BC54-5A0B1125D0E7}" destId="{8E216525-7A8C-45E4-9597-88ED3603AF3B}" srcOrd="0" destOrd="0" presId="urn:microsoft.com/office/officeart/2005/8/layout/orgChart1"/>
    <dgm:cxn modelId="{1252E536-0779-43A1-A502-C7B89B7BC53E}" type="presParOf" srcId="{8BDB22CA-2BE7-4027-BC54-5A0B1125D0E7}" destId="{342FBF40-80B0-4819-A1ED-4376283C8234}" srcOrd="1" destOrd="0" presId="urn:microsoft.com/office/officeart/2005/8/layout/orgChart1"/>
    <dgm:cxn modelId="{F67B692A-0672-46CB-8603-48771F529035}" type="presParOf" srcId="{342FBF40-80B0-4819-A1ED-4376283C8234}" destId="{FBF339D6-EB9D-4C48-89B2-880FCE99C42D}" srcOrd="0" destOrd="0" presId="urn:microsoft.com/office/officeart/2005/8/layout/orgChart1"/>
    <dgm:cxn modelId="{A1F07F47-C8C9-493D-975A-1226C7B144BA}" type="presParOf" srcId="{FBF339D6-EB9D-4C48-89B2-880FCE99C42D}" destId="{4E90235C-3906-45B2-81E2-69236A8E39C0}" srcOrd="0" destOrd="0" presId="urn:microsoft.com/office/officeart/2005/8/layout/orgChart1"/>
    <dgm:cxn modelId="{916B43DF-2644-41CE-B686-E676B5B4C5E2}" type="presParOf" srcId="{FBF339D6-EB9D-4C48-89B2-880FCE99C42D}" destId="{AB49B10D-594D-4052-8BC6-C8D2C91852FA}" srcOrd="1" destOrd="0" presId="urn:microsoft.com/office/officeart/2005/8/layout/orgChart1"/>
    <dgm:cxn modelId="{82E270E0-F502-46D3-8DFB-7BF78B094B40}" type="presParOf" srcId="{342FBF40-80B0-4819-A1ED-4376283C8234}" destId="{C47144E3-2474-4C46-8261-95C282584C17}" srcOrd="1" destOrd="0" presId="urn:microsoft.com/office/officeart/2005/8/layout/orgChart1"/>
    <dgm:cxn modelId="{572FE519-AA70-4F87-8357-0BA31B183467}" type="presParOf" srcId="{342FBF40-80B0-4819-A1ED-4376283C8234}" destId="{841EE1D2-49B5-4935-9FBC-6A909FD7410E}" srcOrd="2" destOrd="0" presId="urn:microsoft.com/office/officeart/2005/8/layout/orgChart1"/>
    <dgm:cxn modelId="{55963FC0-3280-43E9-8A94-005E5135D4DB}" type="presParOf" srcId="{9C016EDB-41DD-4855-A05D-8686EE584106}" destId="{BFCF6F70-5D33-47A9-8A03-55E4175F7A09}" srcOrd="2" destOrd="0" presId="urn:microsoft.com/office/officeart/2005/8/layout/orgChart1"/>
    <dgm:cxn modelId="{D24FA849-EC46-4C7A-B1D6-29ACC3338E97}" type="presParOf" srcId="{7C9B22A8-D66C-4D09-9002-4CF5399A51BE}" destId="{001B9108-3DA0-4F08-BEA9-00AD4F1FFE1B}" srcOrd="8" destOrd="0" presId="urn:microsoft.com/office/officeart/2005/8/layout/orgChart1"/>
    <dgm:cxn modelId="{68B635B9-3284-4BC2-AC19-89A29CA5DB06}" type="presParOf" srcId="{7C9B22A8-D66C-4D09-9002-4CF5399A51BE}" destId="{756DEC35-F376-4D3F-9BFB-4C00E78BFFD9}" srcOrd="9" destOrd="0" presId="urn:microsoft.com/office/officeart/2005/8/layout/orgChart1"/>
    <dgm:cxn modelId="{C8A4B736-6844-4FA4-A284-15B92C018FB5}" type="presParOf" srcId="{756DEC35-F376-4D3F-9BFB-4C00E78BFFD9}" destId="{66A5BC1E-83EA-476C-B8D9-3B9C8E4C5E39}" srcOrd="0" destOrd="0" presId="urn:microsoft.com/office/officeart/2005/8/layout/orgChart1"/>
    <dgm:cxn modelId="{85E93754-A111-4971-9B97-439674E4B20E}" type="presParOf" srcId="{66A5BC1E-83EA-476C-B8D9-3B9C8E4C5E39}" destId="{B0AB5278-3EC8-4898-9375-770F4AA7E79E}" srcOrd="0" destOrd="0" presId="urn:microsoft.com/office/officeart/2005/8/layout/orgChart1"/>
    <dgm:cxn modelId="{374EE2E5-4B94-4D65-A135-4673791444E8}" type="presParOf" srcId="{66A5BC1E-83EA-476C-B8D9-3B9C8E4C5E39}" destId="{F066C3BA-3E53-4636-93F3-C2E31E911888}" srcOrd="1" destOrd="0" presId="urn:microsoft.com/office/officeart/2005/8/layout/orgChart1"/>
    <dgm:cxn modelId="{98DBE22F-9B4F-4C7A-9AB0-13BB1B8BE861}" type="presParOf" srcId="{756DEC35-F376-4D3F-9BFB-4C00E78BFFD9}" destId="{FAE1AEAE-6B47-437A-8A58-FDD62088520D}" srcOrd="1" destOrd="0" presId="urn:microsoft.com/office/officeart/2005/8/layout/orgChart1"/>
    <dgm:cxn modelId="{196314AB-C4CC-42E0-83D3-8E58427EDA58}" type="presParOf" srcId="{FAE1AEAE-6B47-437A-8A58-FDD62088520D}" destId="{A1EDFBE0-B4F6-4B1D-96C6-DDB3CDC50B58}" srcOrd="0" destOrd="0" presId="urn:microsoft.com/office/officeart/2005/8/layout/orgChart1"/>
    <dgm:cxn modelId="{C0306CED-6226-4DF5-9D1E-EF6825CE3549}" type="presParOf" srcId="{FAE1AEAE-6B47-437A-8A58-FDD62088520D}" destId="{207F234E-9649-43E6-B22B-455D9C9EB197}" srcOrd="1" destOrd="0" presId="urn:microsoft.com/office/officeart/2005/8/layout/orgChart1"/>
    <dgm:cxn modelId="{EA1FB400-683D-46CB-B18E-87DE873FE93F}" type="presParOf" srcId="{207F234E-9649-43E6-B22B-455D9C9EB197}" destId="{08D8DA2C-94C5-41B8-BDD0-BC7AEDE2D1C7}" srcOrd="0" destOrd="0" presId="urn:microsoft.com/office/officeart/2005/8/layout/orgChart1"/>
    <dgm:cxn modelId="{EDCB732F-B274-4B89-AA2D-38516AF17FD8}" type="presParOf" srcId="{08D8DA2C-94C5-41B8-BDD0-BC7AEDE2D1C7}" destId="{6CE0EE06-402F-48FD-95E6-AEF5FF10BBD2}" srcOrd="0" destOrd="0" presId="urn:microsoft.com/office/officeart/2005/8/layout/orgChart1"/>
    <dgm:cxn modelId="{5D14836C-4486-4D81-9DC5-E36F853F86E6}" type="presParOf" srcId="{08D8DA2C-94C5-41B8-BDD0-BC7AEDE2D1C7}" destId="{51E91CBA-367A-45AA-894C-EA6728194538}" srcOrd="1" destOrd="0" presId="urn:microsoft.com/office/officeart/2005/8/layout/orgChart1"/>
    <dgm:cxn modelId="{1FEC1634-C71D-42F4-BA2E-47573944FA38}" type="presParOf" srcId="{207F234E-9649-43E6-B22B-455D9C9EB197}" destId="{0D472ACA-41B7-4ACB-81E0-FBE53C775C03}" srcOrd="1" destOrd="0" presId="urn:microsoft.com/office/officeart/2005/8/layout/orgChart1"/>
    <dgm:cxn modelId="{3A020ABF-9656-4041-B42F-0D3D6784960C}" type="presParOf" srcId="{207F234E-9649-43E6-B22B-455D9C9EB197}" destId="{F3EB94B1-21F0-4A91-AD34-9349A87FA299}" srcOrd="2" destOrd="0" presId="urn:microsoft.com/office/officeart/2005/8/layout/orgChart1"/>
    <dgm:cxn modelId="{06D9DCC8-124F-4BD2-A10F-88619CF77825}" type="presParOf" srcId="{756DEC35-F376-4D3F-9BFB-4C00E78BFFD9}" destId="{5073A536-24FF-4E87-9FF7-80A9908A31CE}" srcOrd="2" destOrd="0" presId="urn:microsoft.com/office/officeart/2005/8/layout/orgChart1"/>
    <dgm:cxn modelId="{098A2BF1-F77F-4DFA-93E5-813469689617}" type="presParOf" srcId="{7C9B22A8-D66C-4D09-9002-4CF5399A51BE}" destId="{57B71D01-2243-46FB-A062-2CACC7346822}" srcOrd="10" destOrd="0" presId="urn:microsoft.com/office/officeart/2005/8/layout/orgChart1"/>
    <dgm:cxn modelId="{288EF5B3-FEC1-4C6F-A2E3-579782DB2267}" type="presParOf" srcId="{7C9B22A8-D66C-4D09-9002-4CF5399A51BE}" destId="{1A943425-DEB7-4D17-BEFC-912CC8F22A2A}" srcOrd="11" destOrd="0" presId="urn:microsoft.com/office/officeart/2005/8/layout/orgChart1"/>
    <dgm:cxn modelId="{C3F4B65E-ED12-4FF5-95C0-04061BF3052A}" type="presParOf" srcId="{1A943425-DEB7-4D17-BEFC-912CC8F22A2A}" destId="{98CF9D1B-7EC3-4EB2-BCCB-C9D8A5F52164}" srcOrd="0" destOrd="0" presId="urn:microsoft.com/office/officeart/2005/8/layout/orgChart1"/>
    <dgm:cxn modelId="{188A53C2-37F0-49FA-AD08-4AE95815B0CA}" type="presParOf" srcId="{98CF9D1B-7EC3-4EB2-BCCB-C9D8A5F52164}" destId="{6FDEB2FC-CC9A-4BCC-AD31-91C660A6F016}" srcOrd="0" destOrd="0" presId="urn:microsoft.com/office/officeart/2005/8/layout/orgChart1"/>
    <dgm:cxn modelId="{AB078EF0-7D93-48E1-BB42-822ADFBA82E5}" type="presParOf" srcId="{98CF9D1B-7EC3-4EB2-BCCB-C9D8A5F52164}" destId="{44089CB8-F10E-42BC-A824-8141447EA60E}" srcOrd="1" destOrd="0" presId="urn:microsoft.com/office/officeart/2005/8/layout/orgChart1"/>
    <dgm:cxn modelId="{F2C3C16C-977A-4C92-9981-8F542B3D5725}" type="presParOf" srcId="{1A943425-DEB7-4D17-BEFC-912CC8F22A2A}" destId="{27DFD8EC-3052-4733-8C2A-A0010205F551}" srcOrd="1" destOrd="0" presId="urn:microsoft.com/office/officeart/2005/8/layout/orgChart1"/>
    <dgm:cxn modelId="{BD16F2EF-5E74-45BC-8D6A-5F3A3E267672}" type="presParOf" srcId="{27DFD8EC-3052-4733-8C2A-A0010205F551}" destId="{C134ECE4-5EDD-42B3-B754-63C8EBACB2F0}" srcOrd="0" destOrd="0" presId="urn:microsoft.com/office/officeart/2005/8/layout/orgChart1"/>
    <dgm:cxn modelId="{60A8286D-1D47-4667-91F0-91E0A55B796B}" type="presParOf" srcId="{27DFD8EC-3052-4733-8C2A-A0010205F551}" destId="{F2435737-577F-4389-BAFF-FCBFB5084FE6}" srcOrd="1" destOrd="0" presId="urn:microsoft.com/office/officeart/2005/8/layout/orgChart1"/>
    <dgm:cxn modelId="{A16A9F96-962A-477F-A7BC-D2372669A6F5}" type="presParOf" srcId="{F2435737-577F-4389-BAFF-FCBFB5084FE6}" destId="{E95AB739-02EA-47F6-A837-11380DE902EC}" srcOrd="0" destOrd="0" presId="urn:microsoft.com/office/officeart/2005/8/layout/orgChart1"/>
    <dgm:cxn modelId="{8817364F-C839-47D1-8F8D-87499DDBB553}" type="presParOf" srcId="{E95AB739-02EA-47F6-A837-11380DE902EC}" destId="{62FEDEBB-EA1B-4261-8C6A-66F124073364}" srcOrd="0" destOrd="0" presId="urn:microsoft.com/office/officeart/2005/8/layout/orgChart1"/>
    <dgm:cxn modelId="{A69982AD-2A7B-4D7C-B6E4-AE6D52555244}" type="presParOf" srcId="{E95AB739-02EA-47F6-A837-11380DE902EC}" destId="{ADB0B6A4-65CD-46EA-8D80-D9E439A6D476}" srcOrd="1" destOrd="0" presId="urn:microsoft.com/office/officeart/2005/8/layout/orgChart1"/>
    <dgm:cxn modelId="{5ED92517-B648-4BEF-813C-2C59450A599C}" type="presParOf" srcId="{F2435737-577F-4389-BAFF-FCBFB5084FE6}" destId="{0968D4E1-3897-43BE-9929-77E174154337}" srcOrd="1" destOrd="0" presId="urn:microsoft.com/office/officeart/2005/8/layout/orgChart1"/>
    <dgm:cxn modelId="{EBF23122-ECFC-4903-A2C8-7BACFA0D7A5A}" type="presParOf" srcId="{F2435737-577F-4389-BAFF-FCBFB5084FE6}" destId="{43A1CA24-8172-42E7-A0C3-D44F6E7FDBC3}" srcOrd="2" destOrd="0" presId="urn:microsoft.com/office/officeart/2005/8/layout/orgChart1"/>
    <dgm:cxn modelId="{D2839E4C-793C-4704-9173-75F0EB1A4347}" type="presParOf" srcId="{1A943425-DEB7-4D17-BEFC-912CC8F22A2A}" destId="{B3EBE91E-E82B-4319-996E-CCB67A95EFF4}" srcOrd="2" destOrd="0" presId="urn:microsoft.com/office/officeart/2005/8/layout/orgChart1"/>
    <dgm:cxn modelId="{8B0E3769-50DD-4CEA-A3AB-B3E7A81AB78F}" type="presParOf" srcId="{7C9B22A8-D66C-4D09-9002-4CF5399A51BE}" destId="{274AC589-5C04-492F-A1F9-EA1EE8B1FAD0}" srcOrd="12" destOrd="0" presId="urn:microsoft.com/office/officeart/2005/8/layout/orgChart1"/>
    <dgm:cxn modelId="{6E120F96-8E32-46FF-93E4-63845CC2237F}" type="presParOf" srcId="{7C9B22A8-D66C-4D09-9002-4CF5399A51BE}" destId="{F3EB014E-5E96-4028-A057-54A5EC4CEBDC}" srcOrd="13" destOrd="0" presId="urn:microsoft.com/office/officeart/2005/8/layout/orgChart1"/>
    <dgm:cxn modelId="{DAEE71A8-6686-41D2-AAED-A2DECA645CAC}" type="presParOf" srcId="{F3EB014E-5E96-4028-A057-54A5EC4CEBDC}" destId="{F229E5A7-8A85-4A10-9304-E3E1259D357F}" srcOrd="0" destOrd="0" presId="urn:microsoft.com/office/officeart/2005/8/layout/orgChart1"/>
    <dgm:cxn modelId="{949BB8E7-BF58-498B-844E-6FDE81AAE00F}" type="presParOf" srcId="{F229E5A7-8A85-4A10-9304-E3E1259D357F}" destId="{72C42CCE-0697-451F-A619-0945EEDFD849}" srcOrd="0" destOrd="0" presId="urn:microsoft.com/office/officeart/2005/8/layout/orgChart1"/>
    <dgm:cxn modelId="{1F4A2234-BE3E-4A0A-90E0-BBC7147D6BE6}" type="presParOf" srcId="{F229E5A7-8A85-4A10-9304-E3E1259D357F}" destId="{30FA22A0-7812-41A9-BA19-68A982AC0FA3}" srcOrd="1" destOrd="0" presId="urn:microsoft.com/office/officeart/2005/8/layout/orgChart1"/>
    <dgm:cxn modelId="{65D94708-E329-47CD-9DAB-FCA911B12E7E}" type="presParOf" srcId="{F3EB014E-5E96-4028-A057-54A5EC4CEBDC}" destId="{D74168D8-D33D-420D-95D5-E70EA4B6E404}" srcOrd="1" destOrd="0" presId="urn:microsoft.com/office/officeart/2005/8/layout/orgChart1"/>
    <dgm:cxn modelId="{A00A229D-8A49-4777-94A7-8D69213925B9}" type="presParOf" srcId="{D74168D8-D33D-420D-95D5-E70EA4B6E404}" destId="{66248D66-B78D-4996-9EB3-8B5489F26EC5}" srcOrd="0" destOrd="0" presId="urn:microsoft.com/office/officeart/2005/8/layout/orgChart1"/>
    <dgm:cxn modelId="{C234E22A-C8BD-42C8-9A16-DE60B1F0D71E}" type="presParOf" srcId="{D74168D8-D33D-420D-95D5-E70EA4B6E404}" destId="{308AF729-C321-4A20-8B08-0BE13B12F3B9}" srcOrd="1" destOrd="0" presId="urn:microsoft.com/office/officeart/2005/8/layout/orgChart1"/>
    <dgm:cxn modelId="{57C57061-1681-4268-9FD1-818AF42E1EB7}" type="presParOf" srcId="{308AF729-C321-4A20-8B08-0BE13B12F3B9}" destId="{CD4B102D-E1EC-4522-A63F-44B23096DAA4}" srcOrd="0" destOrd="0" presId="urn:microsoft.com/office/officeart/2005/8/layout/orgChart1"/>
    <dgm:cxn modelId="{BC73DD0F-0E62-4B8F-AF6B-4485BE71BF64}" type="presParOf" srcId="{CD4B102D-E1EC-4522-A63F-44B23096DAA4}" destId="{18E7B84C-7128-40E4-B20D-0153489451E2}" srcOrd="0" destOrd="0" presId="urn:microsoft.com/office/officeart/2005/8/layout/orgChart1"/>
    <dgm:cxn modelId="{3B0C7A9F-D59C-42A3-A569-9A4E93E9178D}" type="presParOf" srcId="{CD4B102D-E1EC-4522-A63F-44B23096DAA4}" destId="{B9DF032E-34E2-4B7D-8DD1-B410565E0897}" srcOrd="1" destOrd="0" presId="urn:microsoft.com/office/officeart/2005/8/layout/orgChart1"/>
    <dgm:cxn modelId="{690B6DD1-5C15-41F6-A4DC-92CDEDB29B90}" type="presParOf" srcId="{308AF729-C321-4A20-8B08-0BE13B12F3B9}" destId="{FC35B73F-98E0-49CC-8EF3-1CB2229B3E8D}" srcOrd="1" destOrd="0" presId="urn:microsoft.com/office/officeart/2005/8/layout/orgChart1"/>
    <dgm:cxn modelId="{DAC68112-F26D-4393-B68E-99F639A4B50B}" type="presParOf" srcId="{308AF729-C321-4A20-8B08-0BE13B12F3B9}" destId="{72DE28E8-4BEE-4067-97E3-0623BCA8E189}" srcOrd="2" destOrd="0" presId="urn:microsoft.com/office/officeart/2005/8/layout/orgChart1"/>
    <dgm:cxn modelId="{9495DFA3-984C-490B-B8B4-11C67D397E12}" type="presParOf" srcId="{F3EB014E-5E96-4028-A057-54A5EC4CEBDC}" destId="{853B07CA-CC72-4A39-98B4-FBC2265C83CB}" srcOrd="2" destOrd="0" presId="urn:microsoft.com/office/officeart/2005/8/layout/orgChart1"/>
    <dgm:cxn modelId="{F96067D5-5E83-4A69-9F4B-76CBC18E3E00}" type="presParOf" srcId="{7C9B22A8-D66C-4D09-9002-4CF5399A51BE}" destId="{ED7399D1-3DFF-41E6-A669-8A815B365BE1}" srcOrd="14" destOrd="0" presId="urn:microsoft.com/office/officeart/2005/8/layout/orgChart1"/>
    <dgm:cxn modelId="{0E64DE0C-685D-418A-BE16-533E34F2EF3F}" type="presParOf" srcId="{7C9B22A8-D66C-4D09-9002-4CF5399A51BE}" destId="{7F509005-D372-4386-8C77-1E81CC75D149}" srcOrd="15" destOrd="0" presId="urn:microsoft.com/office/officeart/2005/8/layout/orgChart1"/>
    <dgm:cxn modelId="{A1476BFE-D439-47F6-8AD4-3679FF00CD71}" type="presParOf" srcId="{7F509005-D372-4386-8C77-1E81CC75D149}" destId="{2F32DFE2-AAEC-4FBE-AD6A-788090AFC563}" srcOrd="0" destOrd="0" presId="urn:microsoft.com/office/officeart/2005/8/layout/orgChart1"/>
    <dgm:cxn modelId="{5338DBC7-2B4C-4548-8249-97C38F5CAAF4}" type="presParOf" srcId="{2F32DFE2-AAEC-4FBE-AD6A-788090AFC563}" destId="{F26BA9A8-4166-4D77-A099-312209F3A16D}" srcOrd="0" destOrd="0" presId="urn:microsoft.com/office/officeart/2005/8/layout/orgChart1"/>
    <dgm:cxn modelId="{4FFAD680-0B63-4FAB-8492-4F07619EE2D5}" type="presParOf" srcId="{2F32DFE2-AAEC-4FBE-AD6A-788090AFC563}" destId="{9310D08C-D34F-46E1-AF23-996B59E83490}" srcOrd="1" destOrd="0" presId="urn:microsoft.com/office/officeart/2005/8/layout/orgChart1"/>
    <dgm:cxn modelId="{8B5834F2-C326-4014-9C8E-464226DA352E}" type="presParOf" srcId="{7F509005-D372-4386-8C77-1E81CC75D149}" destId="{223FAB7F-EE84-4671-9326-17A868FE1E4B}" srcOrd="1" destOrd="0" presId="urn:microsoft.com/office/officeart/2005/8/layout/orgChart1"/>
    <dgm:cxn modelId="{642BAFE3-D810-45BD-9F9D-8D0E24024447}" type="presParOf" srcId="{223FAB7F-EE84-4671-9326-17A868FE1E4B}" destId="{57AAD1CB-E4AB-49EC-A501-6ABAD8E32C92}" srcOrd="0" destOrd="0" presId="urn:microsoft.com/office/officeart/2005/8/layout/orgChart1"/>
    <dgm:cxn modelId="{48C90DEB-70B3-400F-B26F-C118EA9DB08D}" type="presParOf" srcId="{223FAB7F-EE84-4671-9326-17A868FE1E4B}" destId="{ED0256EE-6942-4495-A867-C32F5814A695}" srcOrd="1" destOrd="0" presId="urn:microsoft.com/office/officeart/2005/8/layout/orgChart1"/>
    <dgm:cxn modelId="{2C6784B5-3146-46DF-9337-2999347DF9C2}" type="presParOf" srcId="{ED0256EE-6942-4495-A867-C32F5814A695}" destId="{69278CFF-9B78-472F-9CBD-375FEE4458AC}" srcOrd="0" destOrd="0" presId="urn:microsoft.com/office/officeart/2005/8/layout/orgChart1"/>
    <dgm:cxn modelId="{7AA983C1-FCD4-4C58-9509-D05D8F165685}" type="presParOf" srcId="{69278CFF-9B78-472F-9CBD-375FEE4458AC}" destId="{C3848B27-0433-44BA-BE6D-239BB0F24EC4}" srcOrd="0" destOrd="0" presId="urn:microsoft.com/office/officeart/2005/8/layout/orgChart1"/>
    <dgm:cxn modelId="{D7184A68-496C-4D5E-B6B2-7DEA67C51BF7}" type="presParOf" srcId="{69278CFF-9B78-472F-9CBD-375FEE4458AC}" destId="{6195C32A-4876-4BE2-B055-6CFB620E1283}" srcOrd="1" destOrd="0" presId="urn:microsoft.com/office/officeart/2005/8/layout/orgChart1"/>
    <dgm:cxn modelId="{6470B003-8685-40D0-BE67-8A5C0BA532B5}" type="presParOf" srcId="{ED0256EE-6942-4495-A867-C32F5814A695}" destId="{5A363D7D-8E22-455B-B93D-354609D488EC}" srcOrd="1" destOrd="0" presId="urn:microsoft.com/office/officeart/2005/8/layout/orgChart1"/>
    <dgm:cxn modelId="{F7142810-C3B9-470A-AC31-10F99399E0CB}" type="presParOf" srcId="{ED0256EE-6942-4495-A867-C32F5814A695}" destId="{458462E8-BBEE-489B-9747-5CEB2FF7774A}" srcOrd="2" destOrd="0" presId="urn:microsoft.com/office/officeart/2005/8/layout/orgChart1"/>
    <dgm:cxn modelId="{4AD7B29A-81A1-4993-A2C5-25259BD07044}" type="presParOf" srcId="{7F509005-D372-4386-8C77-1E81CC75D149}" destId="{7814E8E5-419E-4E70-B5AE-441804DD0C7B}" srcOrd="2" destOrd="0" presId="urn:microsoft.com/office/officeart/2005/8/layout/orgChart1"/>
    <dgm:cxn modelId="{24C71768-1E8F-4774-A89E-387FE2F04B84}" type="presParOf" srcId="{7C9B22A8-D66C-4D09-9002-4CF5399A51BE}" destId="{9490645C-1D35-4FA6-B6C2-898EFC507F6B}" srcOrd="16" destOrd="0" presId="urn:microsoft.com/office/officeart/2005/8/layout/orgChart1"/>
    <dgm:cxn modelId="{970356A6-B305-4C31-B100-E848A081F4F4}" type="presParOf" srcId="{7C9B22A8-D66C-4D09-9002-4CF5399A51BE}" destId="{A99C7617-D3B3-49CF-8A44-DE0632F4525C}" srcOrd="17" destOrd="0" presId="urn:microsoft.com/office/officeart/2005/8/layout/orgChart1"/>
    <dgm:cxn modelId="{25F04FD0-F53E-4A5D-AD5B-22D03281A398}" type="presParOf" srcId="{A99C7617-D3B3-49CF-8A44-DE0632F4525C}" destId="{7F151AE0-B2B8-4A79-85B2-197EBD830AE7}" srcOrd="0" destOrd="0" presId="urn:microsoft.com/office/officeart/2005/8/layout/orgChart1"/>
    <dgm:cxn modelId="{5BEB0F13-6138-4B03-8D06-CF1046EE338A}" type="presParOf" srcId="{7F151AE0-B2B8-4A79-85B2-197EBD830AE7}" destId="{CD9C42CA-84C6-4249-A6DE-52164ABC062C}" srcOrd="0" destOrd="0" presId="urn:microsoft.com/office/officeart/2005/8/layout/orgChart1"/>
    <dgm:cxn modelId="{C5469F38-C7FF-4EDC-BA4A-C91A0A873ABE}" type="presParOf" srcId="{7F151AE0-B2B8-4A79-85B2-197EBD830AE7}" destId="{BA6BCCB2-245C-4E23-BCCA-8D73A540E1A8}" srcOrd="1" destOrd="0" presId="urn:microsoft.com/office/officeart/2005/8/layout/orgChart1"/>
    <dgm:cxn modelId="{6DF6B137-48DA-479F-8CF9-FE6CE4A63506}" type="presParOf" srcId="{A99C7617-D3B3-49CF-8A44-DE0632F4525C}" destId="{213FEDDA-A77B-494E-8C0E-EA74493A9986}" srcOrd="1" destOrd="0" presId="urn:microsoft.com/office/officeart/2005/8/layout/orgChart1"/>
    <dgm:cxn modelId="{6C29D20E-36EA-476B-9569-C4BBE8CE73ED}" type="presParOf" srcId="{213FEDDA-A77B-494E-8C0E-EA74493A9986}" destId="{43811524-BB6D-4B21-BD0B-59947001D4A1}" srcOrd="0" destOrd="0" presId="urn:microsoft.com/office/officeart/2005/8/layout/orgChart1"/>
    <dgm:cxn modelId="{A43B57EE-2A62-4F29-8565-AD597CE8330C}" type="presParOf" srcId="{213FEDDA-A77B-494E-8C0E-EA74493A9986}" destId="{E3E78CAD-B93C-432F-9E05-7373FF921091}" srcOrd="1" destOrd="0" presId="urn:microsoft.com/office/officeart/2005/8/layout/orgChart1"/>
    <dgm:cxn modelId="{25FCC210-4A50-46E3-A79D-5AFC1948955C}" type="presParOf" srcId="{E3E78CAD-B93C-432F-9E05-7373FF921091}" destId="{3183B49A-2674-4549-A84B-60E0C6B5E490}" srcOrd="0" destOrd="0" presId="urn:microsoft.com/office/officeart/2005/8/layout/orgChart1"/>
    <dgm:cxn modelId="{FE7E6E2B-C6F2-4592-8879-067F6FA1301C}" type="presParOf" srcId="{3183B49A-2674-4549-A84B-60E0C6B5E490}" destId="{B9EFE3FB-F3B2-4B6D-A64B-30D567F84C12}" srcOrd="0" destOrd="0" presId="urn:microsoft.com/office/officeart/2005/8/layout/orgChart1"/>
    <dgm:cxn modelId="{8C25901D-B9CF-4B1D-B6D5-3C1430E7CE03}" type="presParOf" srcId="{3183B49A-2674-4549-A84B-60E0C6B5E490}" destId="{D8BA04A7-A589-445B-9105-D0876412C8C6}" srcOrd="1" destOrd="0" presId="urn:microsoft.com/office/officeart/2005/8/layout/orgChart1"/>
    <dgm:cxn modelId="{D3463173-8142-4256-8A99-7CD6613F5350}" type="presParOf" srcId="{E3E78CAD-B93C-432F-9E05-7373FF921091}" destId="{0510B0CF-D9D3-4D38-82CA-52E3B9A0AF36}" srcOrd="1" destOrd="0" presId="urn:microsoft.com/office/officeart/2005/8/layout/orgChart1"/>
    <dgm:cxn modelId="{EEDA264E-BD90-4CB2-B02B-B7B857B422E5}" type="presParOf" srcId="{E3E78CAD-B93C-432F-9E05-7373FF921091}" destId="{919CF2F2-2933-466E-B8E4-F9C8D3EB8025}" srcOrd="2" destOrd="0" presId="urn:microsoft.com/office/officeart/2005/8/layout/orgChart1"/>
    <dgm:cxn modelId="{5EB5F880-0BA9-45F1-AA3B-DB93541E0851}" type="presParOf" srcId="{A99C7617-D3B3-49CF-8A44-DE0632F4525C}" destId="{25992A23-2BED-4F36-9B8C-8117ABFD8CA7}" srcOrd="2" destOrd="0" presId="urn:microsoft.com/office/officeart/2005/8/layout/orgChart1"/>
    <dgm:cxn modelId="{F1A285AB-44BF-4041-BD2A-E7E2BC7072CF}" type="presParOf" srcId="{7C9B22A8-D66C-4D09-9002-4CF5399A51BE}" destId="{836FA727-DDE5-4AA5-9564-3F20DBC911B7}" srcOrd="18" destOrd="0" presId="urn:microsoft.com/office/officeart/2005/8/layout/orgChart1"/>
    <dgm:cxn modelId="{EE23C181-2E2F-4FD5-A7DE-F13CEE4BD9B5}" type="presParOf" srcId="{7C9B22A8-D66C-4D09-9002-4CF5399A51BE}" destId="{7A3C92EB-5EC8-4322-AFBC-E1161CF32E53}" srcOrd="19" destOrd="0" presId="urn:microsoft.com/office/officeart/2005/8/layout/orgChart1"/>
    <dgm:cxn modelId="{6C95978E-D41C-4AD5-9636-31A16DF96DFE}" type="presParOf" srcId="{7A3C92EB-5EC8-4322-AFBC-E1161CF32E53}" destId="{3EC53C4D-B489-47C4-B7DA-92165BFFD049}" srcOrd="0" destOrd="0" presId="urn:microsoft.com/office/officeart/2005/8/layout/orgChart1"/>
    <dgm:cxn modelId="{B5EFED9E-E94D-4CBC-9437-67B2D55A6832}" type="presParOf" srcId="{3EC53C4D-B489-47C4-B7DA-92165BFFD049}" destId="{0119CCB5-ABF6-4C75-AEA6-56C080297E09}" srcOrd="0" destOrd="0" presId="urn:microsoft.com/office/officeart/2005/8/layout/orgChart1"/>
    <dgm:cxn modelId="{C12DB2C9-8562-4F4C-8101-732C37D4024E}" type="presParOf" srcId="{3EC53C4D-B489-47C4-B7DA-92165BFFD049}" destId="{CE12EF45-0F54-4AB9-BFA6-DE3E473D26B2}" srcOrd="1" destOrd="0" presId="urn:microsoft.com/office/officeart/2005/8/layout/orgChart1"/>
    <dgm:cxn modelId="{1B56CD39-C415-4481-9144-EA73A8BA1A6E}" type="presParOf" srcId="{7A3C92EB-5EC8-4322-AFBC-E1161CF32E53}" destId="{FC821CEE-80D8-4769-961D-059A68844A43}" srcOrd="1" destOrd="0" presId="urn:microsoft.com/office/officeart/2005/8/layout/orgChart1"/>
    <dgm:cxn modelId="{C8FF03E0-3FF2-4FAC-84DE-C5C3BD8872A9}" type="presParOf" srcId="{FC821CEE-80D8-4769-961D-059A68844A43}" destId="{4CA18A95-1314-4F06-8DDC-B488626E5254}" srcOrd="0" destOrd="0" presId="urn:microsoft.com/office/officeart/2005/8/layout/orgChart1"/>
    <dgm:cxn modelId="{18A85F2D-94F4-413D-BFF9-00C1FC1AEFDA}" type="presParOf" srcId="{FC821CEE-80D8-4769-961D-059A68844A43}" destId="{980346AE-34A7-453A-86AC-6C59BF0ABC37}" srcOrd="1" destOrd="0" presId="urn:microsoft.com/office/officeart/2005/8/layout/orgChart1"/>
    <dgm:cxn modelId="{BBC4577A-F944-4786-99AA-524E124294B4}" type="presParOf" srcId="{980346AE-34A7-453A-86AC-6C59BF0ABC37}" destId="{B478FD4A-0257-42A4-A6ED-429EA645737D}" srcOrd="0" destOrd="0" presId="urn:microsoft.com/office/officeart/2005/8/layout/orgChart1"/>
    <dgm:cxn modelId="{9E866704-0032-45CF-91EE-D052D04DEE21}" type="presParOf" srcId="{B478FD4A-0257-42A4-A6ED-429EA645737D}" destId="{11DA6F3D-3B6C-4AAB-9BD3-3B384CC501A3}" srcOrd="0" destOrd="0" presId="urn:microsoft.com/office/officeart/2005/8/layout/orgChart1"/>
    <dgm:cxn modelId="{CCAB1FCE-C527-4FF4-A511-78DC052F2CDE}" type="presParOf" srcId="{B478FD4A-0257-42A4-A6ED-429EA645737D}" destId="{5B44B0F0-0ECF-4D7E-A669-29F280868CE3}" srcOrd="1" destOrd="0" presId="urn:microsoft.com/office/officeart/2005/8/layout/orgChart1"/>
    <dgm:cxn modelId="{ED8AF95D-0D2B-4919-99B4-8A8471C78002}" type="presParOf" srcId="{980346AE-34A7-453A-86AC-6C59BF0ABC37}" destId="{B3402D09-33C8-4A13-BDBA-62FF1B1B9D50}" srcOrd="1" destOrd="0" presId="urn:microsoft.com/office/officeart/2005/8/layout/orgChart1"/>
    <dgm:cxn modelId="{81D15B71-151A-4F48-BA2D-4865C6D7F555}" type="presParOf" srcId="{980346AE-34A7-453A-86AC-6C59BF0ABC37}" destId="{9E3F4D53-D923-4AED-BE54-F82514EF7F29}" srcOrd="2" destOrd="0" presId="urn:microsoft.com/office/officeart/2005/8/layout/orgChart1"/>
    <dgm:cxn modelId="{9ACBBECC-23E9-4AD9-9C1C-E472C9D7E93E}" type="presParOf" srcId="{7A3C92EB-5EC8-4322-AFBC-E1161CF32E53}" destId="{9961B947-291F-4D34-B914-5461F8505124}" srcOrd="2" destOrd="0" presId="urn:microsoft.com/office/officeart/2005/8/layout/orgChart1"/>
    <dgm:cxn modelId="{1945DFAC-6508-478A-90E5-BB359C680910}" type="presParOf" srcId="{53562A46-3A6F-48C1-8B86-0666ECC1CCC6}" destId="{A8179C13-68A2-4C8A-BD7B-33B3EA030D02}" srcOrd="2" destOrd="0" presId="urn:microsoft.com/office/officeart/2005/8/layout/orgChart1"/>
    <dgm:cxn modelId="{866B59FA-A413-4489-B13F-158A4357A06F}" type="presParOf" srcId="{A8179C13-68A2-4C8A-BD7B-33B3EA030D02}" destId="{AF6EDF22-D0EC-4339-A430-3597838F18C9}" srcOrd="0" destOrd="0" presId="urn:microsoft.com/office/officeart/2005/8/layout/orgChart1"/>
    <dgm:cxn modelId="{A4FE1096-3A6D-4507-A71F-18FFCFA18747}" type="presParOf" srcId="{A8179C13-68A2-4C8A-BD7B-33B3EA030D02}" destId="{FEE5B9B6-1E4A-4A02-8DBE-0C0AFE17D6E5}" srcOrd="1" destOrd="0" presId="urn:microsoft.com/office/officeart/2005/8/layout/orgChart1"/>
    <dgm:cxn modelId="{76A3DD2A-B1DC-45DD-8FD5-445DACBB20A3}" type="presParOf" srcId="{FEE5B9B6-1E4A-4A02-8DBE-0C0AFE17D6E5}" destId="{6B5E8D30-B02C-4B26-836B-3ED231EDA972}" srcOrd="0" destOrd="0" presId="urn:microsoft.com/office/officeart/2005/8/layout/orgChart1"/>
    <dgm:cxn modelId="{08FA0DB1-8BD8-4071-8DF3-EEB1223191E8}" type="presParOf" srcId="{6B5E8D30-B02C-4B26-836B-3ED231EDA972}" destId="{4430D1F1-4169-4541-9E38-94BB66275897}" srcOrd="0" destOrd="0" presId="urn:microsoft.com/office/officeart/2005/8/layout/orgChart1"/>
    <dgm:cxn modelId="{83B74A74-BF2E-48FA-A299-A3577F86BA27}" type="presParOf" srcId="{6B5E8D30-B02C-4B26-836B-3ED231EDA972}" destId="{55AC39B6-E2E1-4A6D-8C5E-FBC75C7A6F00}" srcOrd="1" destOrd="0" presId="urn:microsoft.com/office/officeart/2005/8/layout/orgChart1"/>
    <dgm:cxn modelId="{8D3713E0-FB0F-4C45-8BBE-A3993EEEF9BB}" type="presParOf" srcId="{FEE5B9B6-1E4A-4A02-8DBE-0C0AFE17D6E5}" destId="{70D5D2D4-2E99-4C6B-811E-7D4E805AA104}" srcOrd="1" destOrd="0" presId="urn:microsoft.com/office/officeart/2005/8/layout/orgChart1"/>
    <dgm:cxn modelId="{38606B38-A597-4ABB-8562-87D082057D50}" type="presParOf" srcId="{FEE5B9B6-1E4A-4A02-8DBE-0C0AFE17D6E5}" destId="{CB2316CC-217C-4ACB-8075-106343AD20E2}" srcOrd="2" destOrd="0" presId="urn:microsoft.com/office/officeart/2005/8/layout/orgChart1"/>
    <dgm:cxn modelId="{FE330449-8A96-4B95-AD94-0505D88BB5A6}" type="presParOf" srcId="{A8179C13-68A2-4C8A-BD7B-33B3EA030D02}" destId="{4346862A-16D4-4BFD-BD18-C1B68F2901A7}" srcOrd="2" destOrd="0" presId="urn:microsoft.com/office/officeart/2005/8/layout/orgChart1"/>
    <dgm:cxn modelId="{C14ED576-5AD9-4E99-B888-7B7C87FA111A}" type="presParOf" srcId="{A8179C13-68A2-4C8A-BD7B-33B3EA030D02}" destId="{DDC2A43C-032E-42AA-ADFB-4B101FF63BD5}" srcOrd="3" destOrd="0" presId="urn:microsoft.com/office/officeart/2005/8/layout/orgChart1"/>
    <dgm:cxn modelId="{4730F7E2-B411-4C34-B32F-774808AEE006}" type="presParOf" srcId="{DDC2A43C-032E-42AA-ADFB-4B101FF63BD5}" destId="{B7F742A2-2D62-4B2B-AE1D-701244D0D64D}" srcOrd="0" destOrd="0" presId="urn:microsoft.com/office/officeart/2005/8/layout/orgChart1"/>
    <dgm:cxn modelId="{1EF4FBBE-D75C-4346-9676-C244ED734DCA}" type="presParOf" srcId="{B7F742A2-2D62-4B2B-AE1D-701244D0D64D}" destId="{4EF84C94-F6CA-484F-B52B-606432443C05}" srcOrd="0" destOrd="0" presId="urn:microsoft.com/office/officeart/2005/8/layout/orgChart1"/>
    <dgm:cxn modelId="{E5B3815D-1060-46DB-B8F5-1B99BC6DA81A}" type="presParOf" srcId="{B7F742A2-2D62-4B2B-AE1D-701244D0D64D}" destId="{0F44C2CA-A632-40E2-A8BD-1DF70D0A6920}" srcOrd="1" destOrd="0" presId="urn:microsoft.com/office/officeart/2005/8/layout/orgChart1"/>
    <dgm:cxn modelId="{E8576690-00B9-4C66-A870-BFA33868C9B0}" type="presParOf" srcId="{DDC2A43C-032E-42AA-ADFB-4B101FF63BD5}" destId="{59207D52-A38B-464D-BBD6-D4EB5A52E3C6}" srcOrd="1" destOrd="0" presId="urn:microsoft.com/office/officeart/2005/8/layout/orgChart1"/>
    <dgm:cxn modelId="{8BF028A2-E84B-4D80-A832-29F645068F72}" type="presParOf" srcId="{DDC2A43C-032E-42AA-ADFB-4B101FF63BD5}" destId="{985D0A05-797F-4CB9-BA05-B99D0F2D0B29}" srcOrd="2" destOrd="0" presId="urn:microsoft.com/office/officeart/2005/8/layout/orgChart1"/>
    <dgm:cxn modelId="{E4C1533C-91C3-4DB7-B630-36EEC89DEB97}" type="presParOf" srcId="{A8179C13-68A2-4C8A-BD7B-33B3EA030D02}" destId="{955B6202-4E04-4449-85D3-31113D7D0F18}" srcOrd="4" destOrd="0" presId="urn:microsoft.com/office/officeart/2005/8/layout/orgChart1"/>
    <dgm:cxn modelId="{515D5483-4441-4B7C-919B-DCCC821D5F91}" type="presParOf" srcId="{A8179C13-68A2-4C8A-BD7B-33B3EA030D02}" destId="{A2737802-CC0A-45B9-B0D7-FAB7BFC7E077}" srcOrd="5" destOrd="0" presId="urn:microsoft.com/office/officeart/2005/8/layout/orgChart1"/>
    <dgm:cxn modelId="{AE87DF1E-165A-418D-9C89-F7A213C62AA1}" type="presParOf" srcId="{A2737802-CC0A-45B9-B0D7-FAB7BFC7E077}" destId="{F766E87D-9A61-4FF7-B1D7-A4F51FB72A5F}" srcOrd="0" destOrd="0" presId="urn:microsoft.com/office/officeart/2005/8/layout/orgChart1"/>
    <dgm:cxn modelId="{6BE97831-DDE2-46CF-9011-1C308C628B5C}" type="presParOf" srcId="{F766E87D-9A61-4FF7-B1D7-A4F51FB72A5F}" destId="{7C636518-A830-4675-B1FC-16D96E0BE54F}" srcOrd="0" destOrd="0" presId="urn:microsoft.com/office/officeart/2005/8/layout/orgChart1"/>
    <dgm:cxn modelId="{8400AC2C-E061-4D1B-A22C-0E7795B4EAD5}" type="presParOf" srcId="{F766E87D-9A61-4FF7-B1D7-A4F51FB72A5F}" destId="{79AA34D1-285F-498D-AD9D-EB676762D840}" srcOrd="1" destOrd="0" presId="urn:microsoft.com/office/officeart/2005/8/layout/orgChart1"/>
    <dgm:cxn modelId="{7F77895E-D303-43FF-94F3-B6D0F74DE7D4}" type="presParOf" srcId="{A2737802-CC0A-45B9-B0D7-FAB7BFC7E077}" destId="{90C8AAA7-44BD-42C9-A4D7-A30DF430017B}" srcOrd="1" destOrd="0" presId="urn:microsoft.com/office/officeart/2005/8/layout/orgChart1"/>
    <dgm:cxn modelId="{29C255FD-E9A4-4747-B4C8-335EFE2D40E3}" type="presParOf" srcId="{A2737802-CC0A-45B9-B0D7-FAB7BFC7E077}" destId="{DD3347DC-1906-421D-AB49-5519C757CBDA}" srcOrd="2" destOrd="0" presId="urn:microsoft.com/office/officeart/2005/8/layout/orgChart1"/>
    <dgm:cxn modelId="{1830CCB0-FDEA-480C-8DC2-8FC500E56896}" type="presParOf" srcId="{A8179C13-68A2-4C8A-BD7B-33B3EA030D02}" destId="{295B7631-8540-4F99-B9E3-4B496242F73C}" srcOrd="6" destOrd="0" presId="urn:microsoft.com/office/officeart/2005/8/layout/orgChart1"/>
    <dgm:cxn modelId="{071F00AA-0B80-4F33-B62F-FE06774F5D59}" type="presParOf" srcId="{A8179C13-68A2-4C8A-BD7B-33B3EA030D02}" destId="{2935A04B-B269-41A5-B13F-2C13D642B8B5}" srcOrd="7" destOrd="0" presId="urn:microsoft.com/office/officeart/2005/8/layout/orgChart1"/>
    <dgm:cxn modelId="{4B7CE81E-6E10-4738-9E4E-D51EC5D66BA3}" type="presParOf" srcId="{2935A04B-B269-41A5-B13F-2C13D642B8B5}" destId="{0D7DD1BF-9AFE-40E5-A84B-95A9CE23B3B5}" srcOrd="0" destOrd="0" presId="urn:microsoft.com/office/officeart/2005/8/layout/orgChart1"/>
    <dgm:cxn modelId="{F114E8EF-325E-4EF5-861E-C4F1EE659C60}" type="presParOf" srcId="{0D7DD1BF-9AFE-40E5-A84B-95A9CE23B3B5}" destId="{81AD70D2-FA4A-4F67-AB41-4CAD174C56B9}" srcOrd="0" destOrd="0" presId="urn:microsoft.com/office/officeart/2005/8/layout/orgChart1"/>
    <dgm:cxn modelId="{61E75A3A-A7BB-47FC-97C7-6C4876EE5998}" type="presParOf" srcId="{0D7DD1BF-9AFE-40E5-A84B-95A9CE23B3B5}" destId="{8BBF1B67-0D72-4175-B1D6-E4E812CE4849}" srcOrd="1" destOrd="0" presId="urn:microsoft.com/office/officeart/2005/8/layout/orgChart1"/>
    <dgm:cxn modelId="{9E3AE65C-FC40-475C-BFC4-72865E2C4714}" type="presParOf" srcId="{2935A04B-B269-41A5-B13F-2C13D642B8B5}" destId="{4BEA03CF-7AED-4A65-8301-AA31C5C4A83F}" srcOrd="1" destOrd="0" presId="urn:microsoft.com/office/officeart/2005/8/layout/orgChart1"/>
    <dgm:cxn modelId="{8A16E6E4-D8BD-4714-814A-BB6BEA6DE90C}" type="presParOf" srcId="{2935A04B-B269-41A5-B13F-2C13D642B8B5}" destId="{3C69FD51-03D6-4BAD-B353-9BA0AAAE04B3}" srcOrd="2" destOrd="0" presId="urn:microsoft.com/office/officeart/2005/8/layout/orgChart1"/>
    <dgm:cxn modelId="{C672506E-5AC4-4F24-A5A3-E6798445D29B}" type="presParOf" srcId="{11225A69-476A-48D5-8BD3-B796A30A35FB}" destId="{9EB22A7E-9A50-4928-8955-DBD925D82BF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0E1B2F0-4A22-47E5-9098-288633BBC04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D4F7164A-9FF1-4F65-82AC-B9F25046820D}">
      <dgm:prSet phldrT="[Text]"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it-IT" sz="1000" b="1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zione del programma Sicuro! Gruppo FFS</a:t>
          </a:r>
        </a:p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it-IT" sz="10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Patrick Hadorn (K-SQ)</a:t>
          </a:r>
          <a:endParaRPr lang="de-CH" sz="1000" dirty="0">
            <a:solidFill>
              <a:schemeClr val="bg1"/>
            </a:solidFill>
            <a:latin typeface="SBB Light" pitchFamily="2" charset="0"/>
          </a:endParaRPr>
        </a:p>
      </dgm:t>
    </dgm:pt>
    <dgm:pt modelId="{0D276855-C69D-440E-BF19-9F7FB242F22C}" type="parTrans" cxnId="{38640DC1-0BB3-4058-B08C-6E56D95194D2}">
      <dgm:prSet/>
      <dgm:spPr/>
      <dgm:t>
        <a:bodyPr/>
        <a:lstStyle/>
        <a:p>
          <a:endParaRPr lang="de-CH"/>
        </a:p>
      </dgm:t>
    </dgm:pt>
    <dgm:pt modelId="{962CBA58-A06F-419E-B46B-8102F954B567}" type="sibTrans" cxnId="{38640DC1-0BB3-4058-B08C-6E56D95194D2}">
      <dgm:prSet/>
      <dgm:spPr/>
      <dgm:t>
        <a:bodyPr/>
        <a:lstStyle/>
        <a:p>
          <a:endParaRPr lang="de-CH"/>
        </a:p>
      </dgm:t>
    </dgm:pt>
    <dgm:pt modelId="{B38FC32D-7CC4-43AF-9124-DCFA0F4DF293}" type="asst">
      <dgm:prSet phldrT="[Text]"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Project Management Offic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Axel Müller (K-UE-CSG)</a:t>
          </a:r>
          <a:endParaRPr lang="de-CH" sz="900" dirty="0">
            <a:latin typeface="SBB Light" pitchFamily="2" charset="0"/>
          </a:endParaRPr>
        </a:p>
      </dgm:t>
    </dgm:pt>
    <dgm:pt modelId="{453A13CE-3AA3-4C9F-B7F7-90265CCFDBB3}" type="parTrans" cxnId="{EBD21DF8-3920-4FAC-94AA-BB760C48F3FF}">
      <dgm:prSet/>
      <dgm:spPr/>
      <dgm:t>
        <a:bodyPr/>
        <a:lstStyle/>
        <a:p>
          <a:endParaRPr lang="de-CH"/>
        </a:p>
      </dgm:t>
    </dgm:pt>
    <dgm:pt modelId="{A9A79CB1-BD10-4FC9-B4A5-33466D736D5B}" type="sibTrans" cxnId="{EBD21DF8-3920-4FAC-94AA-BB760C48F3FF}">
      <dgm:prSet/>
      <dgm:spPr/>
      <dgm:t>
        <a:bodyPr/>
        <a:lstStyle/>
        <a:p>
          <a:endParaRPr lang="de-CH"/>
        </a:p>
      </dgm:t>
    </dgm:pt>
    <dgm:pt modelId="{E6C70B32-CBF9-49A0-AA12-9213BA3C6C7C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Comunicazione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Daniel Görig (KOM-IGK)</a:t>
          </a:r>
        </a:p>
      </dgm:t>
    </dgm:pt>
    <dgm:pt modelId="{57EB8D8D-0B16-46FA-9CE7-8732E2B4A3E7}" type="parTrans" cxnId="{4AF22291-AB4A-4EA0-A54C-80875A7A046D}">
      <dgm:prSet/>
      <dgm:spPr/>
      <dgm:t>
        <a:bodyPr/>
        <a:lstStyle/>
        <a:p>
          <a:endParaRPr lang="de-CH"/>
        </a:p>
      </dgm:t>
    </dgm:pt>
    <dgm:pt modelId="{CE23C833-F71D-4BE5-89FC-FF0979A0B6C5}" type="sibTrans" cxnId="{4AF22291-AB4A-4EA0-A54C-80875A7A046D}">
      <dgm:prSet/>
      <dgm:spPr/>
      <dgm:t>
        <a:bodyPr/>
        <a:lstStyle/>
        <a:p>
          <a:endParaRPr lang="de-CH"/>
        </a:p>
      </dgm:t>
    </dgm:pt>
    <dgm:pt modelId="{E1E42948-A962-4296-ACD0-73911027A8C2}">
      <dgm:prSet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1100" b="1">
              <a:latin typeface="SBB Light"/>
              <a:ea typeface="SBB Light"/>
              <a:cs typeface="SBB Light"/>
              <a:sym typeface="SBB Light"/>
            </a:rPr>
            <a:t>Committente e gestione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1050">
              <a:latin typeface="SBB Light"/>
              <a:ea typeface="SBB Light"/>
              <a:cs typeface="SBB Light"/>
              <a:sym typeface="SBB Light"/>
            </a:rPr>
            <a:t>Andreas Meyer / Toni Häne / Jacques Boschung</a:t>
          </a:r>
        </a:p>
      </dgm:t>
    </dgm:pt>
    <dgm:pt modelId="{8E342320-0A62-4761-86C2-526B290D7E07}" type="parTrans" cxnId="{1C5B5F3A-B043-4162-A527-6DECFCE25578}">
      <dgm:prSet/>
      <dgm:spPr/>
      <dgm:t>
        <a:bodyPr/>
        <a:lstStyle/>
        <a:p>
          <a:endParaRPr lang="de-CH"/>
        </a:p>
      </dgm:t>
    </dgm:pt>
    <dgm:pt modelId="{62EDD7DD-32EA-4B5D-9F73-BB163890D821}" type="sibTrans" cxnId="{1C5B5F3A-B043-4162-A527-6DECFCE25578}">
      <dgm:prSet/>
      <dgm:spPr/>
      <dgm:t>
        <a:bodyPr/>
        <a:lstStyle/>
        <a:p>
          <a:endParaRPr lang="de-CH"/>
        </a:p>
      </dgm:t>
    </dgm:pt>
    <dgm:pt modelId="{85861E5F-C30E-4A16-8BC6-C9614552F67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 dirty="0">
              <a:latin typeface="SBB Light"/>
              <a:ea typeface="SBB Light"/>
              <a:cs typeface="SBB Light"/>
              <a:sym typeface="SBB Light"/>
            </a:rPr>
            <a:t>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Inchiesta esterna </a:t>
          </a:r>
          <a:r>
            <a:rPr lang="it-IT" sz="900" b="1" dirty="0">
              <a:latin typeface="SBB Light"/>
              <a:ea typeface="SBB Light"/>
              <a:cs typeface="SBB Light"/>
              <a:sym typeface="SBB Light"/>
            </a:rPr>
            <a:t>«segnalazioni»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 dirty="0">
              <a:latin typeface="SBB Light"/>
              <a:ea typeface="SBB Light"/>
              <a:cs typeface="SBB Light"/>
              <a:sym typeface="SBB Light"/>
            </a:rPr>
            <a:t>Susanne </a:t>
          </a:r>
          <a:r>
            <a:rPr lang="it-IT" sz="900" dirty="0" err="1">
              <a:latin typeface="SBB Light"/>
              <a:ea typeface="SBB Light"/>
              <a:cs typeface="SBB Light"/>
              <a:sym typeface="SBB Light"/>
            </a:rPr>
            <a:t>Stierli</a:t>
          </a:r>
          <a:endParaRPr lang="it-IT" sz="900" dirty="0">
            <a:latin typeface="SBB Light"/>
            <a:ea typeface="SBB Light"/>
            <a:cs typeface="SBB Light"/>
            <a:sym typeface="SBB Light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 dirty="0">
              <a:latin typeface="SBB Light"/>
              <a:ea typeface="SBB Light"/>
              <a:cs typeface="SBB Light"/>
              <a:sym typeface="SBB Light"/>
            </a:rPr>
            <a:t>(K-SQ-QP)</a:t>
          </a:r>
          <a:endParaRPr lang="de-CH" sz="900" b="0" dirty="0">
            <a:latin typeface="SBB Light" pitchFamily="2" charset="0"/>
          </a:endParaRPr>
        </a:p>
      </dgm:t>
    </dgm:pt>
    <dgm:pt modelId="{CA0406F1-12F9-4404-A7A5-712E89F79CB5}" type="parTrans" cxnId="{4C5B212D-3C03-4814-953F-25E6BC8A7655}">
      <dgm:prSet/>
      <dgm:spPr/>
      <dgm:t>
        <a:bodyPr/>
        <a:lstStyle/>
        <a:p>
          <a:endParaRPr lang="de-CH"/>
        </a:p>
      </dgm:t>
    </dgm:pt>
    <dgm:pt modelId="{A8F1A468-280D-46A5-8CF4-CAF69197C5FA}" type="sibTrans" cxnId="{4C5B212D-3C03-4814-953F-25E6BC8A7655}">
      <dgm:prSet/>
      <dgm:spPr/>
      <dgm:t>
        <a:bodyPr/>
        <a:lstStyle/>
        <a:p>
          <a:endParaRPr lang="de-CH"/>
        </a:p>
      </dgm:t>
    </dgm:pt>
    <dgm:pt modelId="{F81E21DA-FD6E-4C6D-9C53-8BA0BD4A254D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Controllo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scenari di safety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Jonathan Shaha</a:t>
          </a:r>
          <a:endParaRPr lang="de-CH" sz="9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(K-SQ-SI)</a:t>
          </a:r>
        </a:p>
      </dgm:t>
    </dgm:pt>
    <dgm:pt modelId="{EC53749C-46C7-488D-AA63-655AFD2389C5}" type="parTrans" cxnId="{CEA687AB-65E9-4D5E-B521-211EE28FD4F3}">
      <dgm:prSet/>
      <dgm:spPr/>
      <dgm:t>
        <a:bodyPr/>
        <a:lstStyle/>
        <a:p>
          <a:endParaRPr lang="de-CH"/>
        </a:p>
      </dgm:t>
    </dgm:pt>
    <dgm:pt modelId="{4805F6C9-A875-434F-980D-8970E6E2DD6B}" type="sibTrans" cxnId="{CEA687AB-65E9-4D5E-B521-211EE28FD4F3}">
      <dgm:prSet/>
      <dgm:spPr/>
      <dgm:t>
        <a:bodyPr/>
        <a:lstStyle/>
        <a:p>
          <a:endParaRPr lang="de-CH"/>
        </a:p>
      </dgm:t>
    </dgm:pt>
    <dgm:pt modelId="{3A40DFC6-CEB8-49A2-8A08-61F2AC6F453F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dirty="0">
              <a:latin typeface="SBB Light"/>
              <a:ea typeface="SBB Light"/>
              <a:cs typeface="SBB Light"/>
              <a:sym typeface="SBB Light"/>
            </a:rPr>
            <a:t> </a:t>
          </a:r>
          <a:r>
            <a:rPr lang="it-IT" sz="900" b="1" dirty="0">
              <a:latin typeface="SBB Light"/>
              <a:ea typeface="SBB Light"/>
              <a:cs typeface="SBB Light"/>
              <a:sym typeface="SBB Light"/>
            </a:rPr>
            <a:t>Verifica </a:t>
          </a:r>
          <a:r>
            <a:rPr lang="it-IT" sz="900" b="1" dirty="0" smtClean="0">
              <a:latin typeface="SBB Light"/>
              <a:ea typeface="SBB Light"/>
              <a:cs typeface="SBB Light"/>
              <a:sym typeface="SBB Light"/>
            </a:rPr>
            <a:t>dell’efficacia </a:t>
          </a:r>
          <a:r>
            <a:rPr lang="it-IT" sz="900" b="1" dirty="0">
              <a:latin typeface="SBB Light"/>
              <a:ea typeface="SBB Light"/>
              <a:cs typeface="SBB Light"/>
              <a:sym typeface="SBB Light"/>
            </a:rPr>
            <a:t>di audit e controlli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 dirty="0">
              <a:latin typeface="SBB Light"/>
              <a:ea typeface="SBB Light"/>
              <a:cs typeface="SBB Light"/>
              <a:sym typeface="SBB Light"/>
            </a:rPr>
            <a:t>Estern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 dirty="0">
              <a:latin typeface="SBB Light"/>
              <a:ea typeface="SBB Light"/>
              <a:cs typeface="SBB Light"/>
              <a:sym typeface="SBB Light"/>
            </a:rPr>
            <a:t>(K-</a:t>
          </a:r>
          <a:r>
            <a:rPr lang="it-IT" sz="900" dirty="0" err="1">
              <a:latin typeface="SBB Light"/>
              <a:ea typeface="SBB Light"/>
              <a:cs typeface="SBB Light"/>
              <a:sym typeface="SBB Light"/>
            </a:rPr>
            <a:t>SQ</a:t>
          </a:r>
          <a:r>
            <a:rPr lang="it-IT" sz="900" dirty="0">
              <a:latin typeface="SBB Light"/>
              <a:ea typeface="SBB Light"/>
              <a:cs typeface="SBB Light"/>
              <a:sym typeface="SBB Light"/>
            </a:rPr>
            <a:t>-</a:t>
          </a:r>
          <a:r>
            <a:rPr lang="it-IT" sz="900" dirty="0" err="1">
              <a:latin typeface="SBB Light"/>
              <a:ea typeface="SBB Light"/>
              <a:cs typeface="SBB Light"/>
              <a:sym typeface="SBB Light"/>
            </a:rPr>
            <a:t>QP</a:t>
          </a:r>
          <a:r>
            <a:rPr lang="it-IT" sz="900" dirty="0">
              <a:latin typeface="SBB Light"/>
              <a:ea typeface="SBB Light"/>
              <a:cs typeface="SBB Light"/>
              <a:sym typeface="SBB Light"/>
            </a:rPr>
            <a:t>)</a:t>
          </a:r>
        </a:p>
      </dgm:t>
    </dgm:pt>
    <dgm:pt modelId="{49936F48-8DD0-493E-85C9-D0AFBA68A87B}" type="parTrans" cxnId="{1F7C51E2-BBC9-4B8E-B1C0-6CF750EEF662}">
      <dgm:prSet/>
      <dgm:spPr/>
      <dgm:t>
        <a:bodyPr/>
        <a:lstStyle/>
        <a:p>
          <a:endParaRPr lang="de-CH"/>
        </a:p>
      </dgm:t>
    </dgm:pt>
    <dgm:pt modelId="{E5952D7E-7917-4B83-A4E3-0367D08CEC3E}" type="sibTrans" cxnId="{1F7C51E2-BBC9-4B8E-B1C0-6CF750EEF662}">
      <dgm:prSet/>
      <dgm:spPr/>
      <dgm:t>
        <a:bodyPr/>
        <a:lstStyle/>
        <a:p>
          <a:endParaRPr lang="de-CH"/>
        </a:p>
      </dgm:t>
    </dgm:pt>
    <dgm:pt modelId="{59E21C72-2D75-4B59-825F-E4B705871538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Esame dei requisiti SMS, ECM a livello dirigenziale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Christina Brändl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(K-SQ-SI)</a:t>
          </a:r>
        </a:p>
      </dgm:t>
    </dgm:pt>
    <dgm:pt modelId="{57E2656F-B0F0-4934-B9F0-BEF0BDA7831B}" type="parTrans" cxnId="{556DE6BE-C83D-4063-A9EF-9F8DA95BA4F6}">
      <dgm:prSet/>
      <dgm:spPr/>
      <dgm:t>
        <a:bodyPr/>
        <a:lstStyle/>
        <a:p>
          <a:endParaRPr lang="de-CH"/>
        </a:p>
      </dgm:t>
    </dgm:pt>
    <dgm:pt modelId="{ADDEB8D9-25FB-4FCB-9CA1-9FC0CCFA6558}" type="sibTrans" cxnId="{556DE6BE-C83D-4063-A9EF-9F8DA95BA4F6}">
      <dgm:prSet/>
      <dgm:spPr/>
      <dgm:t>
        <a:bodyPr/>
        <a:lstStyle/>
        <a:p>
          <a:endParaRPr lang="de-CH"/>
        </a:p>
      </dgm:t>
    </dgm:pt>
    <dgm:pt modelId="{E9801196-6D03-48AB-B988-68FF40EDD9E3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>
              <a:latin typeface="SBB Light"/>
              <a:ea typeface="SBB Light"/>
              <a:cs typeface="SBB Light"/>
              <a:sym typeface="SBB Light"/>
            </a:rPr>
            <a:t>Parti social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>
              <a:latin typeface="SBB Light"/>
              <a:ea typeface="SBB Light"/>
              <a:cs typeface="SBB Light"/>
              <a:sym typeface="SBB Light"/>
            </a:rPr>
            <a:t>Markus Heubi (HR-HBP-PP)</a:t>
          </a:r>
        </a:p>
      </dgm:t>
    </dgm:pt>
    <dgm:pt modelId="{38F2A94C-DA89-4D87-B65E-E804A4874A9B}" type="parTrans" cxnId="{B62938A1-CF7C-4AE9-9BC9-854DD3A775F7}">
      <dgm:prSet/>
      <dgm:spPr/>
      <dgm:t>
        <a:bodyPr/>
        <a:lstStyle/>
        <a:p>
          <a:endParaRPr lang="de-CH"/>
        </a:p>
      </dgm:t>
    </dgm:pt>
    <dgm:pt modelId="{90A59A97-2839-4CCD-AABD-2F2AB6C7F1FE}" type="sibTrans" cxnId="{B62938A1-CF7C-4AE9-9BC9-854DD3A775F7}">
      <dgm:prSet/>
      <dgm:spPr/>
      <dgm:t>
        <a:bodyPr/>
        <a:lstStyle/>
        <a:p>
          <a:endParaRPr lang="de-CH"/>
        </a:p>
      </dgm:t>
    </dgm:pt>
    <dgm:pt modelId="{3F9D6342-B5A7-49AB-B511-C63B700C30AA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it-IT" sz="900" b="1" dirty="0">
              <a:latin typeface="SBB Light"/>
              <a:ea typeface="SBB Light"/>
              <a:cs typeface="SBB Light"/>
              <a:sym typeface="SBB Light"/>
            </a:rPr>
            <a:t>Finanz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900" dirty="0" smtClean="0">
              <a:latin typeface="SBB Light"/>
              <a:ea typeface="SBB Light"/>
              <a:cs typeface="SBB Light"/>
              <a:sym typeface="SBB Light"/>
            </a:rPr>
            <a:t>Lukas Roth (F-CP-</a:t>
          </a:r>
          <a:r>
            <a:rPr lang="it-IT" sz="900" dirty="0" err="1" smtClean="0">
              <a:latin typeface="SBB Light"/>
              <a:ea typeface="SBB Light"/>
              <a:cs typeface="SBB Light"/>
              <a:sym typeface="SBB Light"/>
            </a:rPr>
            <a:t>FBP</a:t>
          </a:r>
          <a:r>
            <a:rPr lang="it-IT" sz="900" dirty="0" smtClean="0">
              <a:latin typeface="SBB Light"/>
              <a:ea typeface="SBB Light"/>
              <a:cs typeface="SBB Light"/>
              <a:sym typeface="SBB Light"/>
            </a:rPr>
            <a:t>)</a:t>
          </a:r>
          <a:endParaRPr lang="it-IT" sz="900" dirty="0">
            <a:latin typeface="SBB Light"/>
            <a:ea typeface="SBB Light"/>
            <a:cs typeface="SBB Light"/>
            <a:sym typeface="SBB Light"/>
          </a:endParaRPr>
        </a:p>
      </dgm:t>
    </dgm:pt>
    <dgm:pt modelId="{D816F4A7-CC30-4C25-874D-5475F3B5FB08}" type="parTrans" cxnId="{5D853B19-2DEB-490F-87D4-A455C9209D7E}">
      <dgm:prSet/>
      <dgm:spPr/>
      <dgm:t>
        <a:bodyPr/>
        <a:lstStyle/>
        <a:p>
          <a:endParaRPr lang="de-CH"/>
        </a:p>
      </dgm:t>
    </dgm:pt>
    <dgm:pt modelId="{F398ECED-480B-4B4C-B8EC-473FE9F5DF48}" type="sibTrans" cxnId="{5D853B19-2DEB-490F-87D4-A455C9209D7E}">
      <dgm:prSet/>
      <dgm:spPr/>
      <dgm:t>
        <a:bodyPr/>
        <a:lstStyle/>
        <a:p>
          <a:endParaRPr lang="de-CH"/>
        </a:p>
      </dgm:t>
    </dgm:pt>
    <dgm:pt modelId="{1901BCD9-3251-477B-88A0-9A8AED30AFE0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13 a</a:t>
          </a:r>
        </a:p>
      </dgm:t>
    </dgm:pt>
    <dgm:pt modelId="{140717A6-7A7E-4078-ABC0-69623BEAC1F6}" type="parTrans" cxnId="{C1965978-1B38-4AD3-825D-77D8FB71BBF4}">
      <dgm:prSet/>
      <dgm:spPr/>
      <dgm:t>
        <a:bodyPr/>
        <a:lstStyle/>
        <a:p>
          <a:endParaRPr lang="de-CH"/>
        </a:p>
      </dgm:t>
    </dgm:pt>
    <dgm:pt modelId="{56FA4343-5CE1-4CB3-8826-3E2F71A2DE3D}" type="sibTrans" cxnId="{C1965978-1B38-4AD3-825D-77D8FB71BBF4}">
      <dgm:prSet/>
      <dgm:spPr/>
      <dgm:t>
        <a:bodyPr/>
        <a:lstStyle/>
        <a:p>
          <a:endParaRPr lang="de-CH"/>
        </a:p>
      </dgm:t>
    </dgm:pt>
    <dgm:pt modelId="{D4F561AE-AE9B-4801-A294-6F70D893C01B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13 b</a:t>
          </a:r>
        </a:p>
      </dgm:t>
    </dgm:pt>
    <dgm:pt modelId="{22222F70-B26E-4775-8A77-BAF70CD68F9D}" type="parTrans" cxnId="{78282317-6EA9-4AE9-A1C9-7565E088EDC2}">
      <dgm:prSet/>
      <dgm:spPr/>
      <dgm:t>
        <a:bodyPr/>
        <a:lstStyle/>
        <a:p>
          <a:endParaRPr lang="de-CH"/>
        </a:p>
      </dgm:t>
    </dgm:pt>
    <dgm:pt modelId="{5B2428FB-3654-4150-9FB1-AB741903D74D}" type="sibTrans" cxnId="{78282317-6EA9-4AE9-A1C9-7565E088EDC2}">
      <dgm:prSet/>
      <dgm:spPr/>
      <dgm:t>
        <a:bodyPr/>
        <a:lstStyle/>
        <a:p>
          <a:endParaRPr lang="de-CH"/>
        </a:p>
      </dgm:t>
    </dgm:pt>
    <dgm:pt modelId="{1BA902D5-1094-41BE-906B-62298FB512A0}" type="asst">
      <dgm:prSet custT="1"/>
      <dgm:spPr>
        <a:solidFill>
          <a:schemeClr val="accent1">
            <a:hueOff val="0"/>
            <a:satOff val="0"/>
            <a:lumOff val="0"/>
            <a:alpha val="50000"/>
          </a:schemeClr>
        </a:solidFill>
      </dgm:spPr>
      <dgm:t>
        <a:bodyPr/>
        <a:lstStyle/>
        <a:p>
          <a:r>
            <a:rPr lang="it-IT" sz="900" b="1" cap="none">
              <a:latin typeface="SBB Light"/>
              <a:ea typeface="SBB Light"/>
              <a:cs typeface="SBB Light"/>
              <a:sym typeface="SBB Light"/>
            </a:rPr>
            <a:t>Challenging / sounding</a:t>
          </a:r>
        </a:p>
        <a:p>
          <a:r>
            <a:rPr lang="it-IT" sz="900" b="0" cap="none">
              <a:latin typeface="SBB Light"/>
              <a:ea typeface="SBB Light"/>
              <a:cs typeface="SBB Light"/>
              <a:sym typeface="SBB Light"/>
            </a:rPr>
            <a:t>Urs Wälchli (K-UE) / Hans Vogt (K-UE)</a:t>
          </a:r>
        </a:p>
      </dgm:t>
    </dgm:pt>
    <dgm:pt modelId="{797EDAE4-5DF6-412D-BBC0-A3226B1F0237}" type="parTrans" cxnId="{0074E214-FF58-4F01-BE18-56BBA568E289}">
      <dgm:prSet/>
      <dgm:spPr/>
      <dgm:t>
        <a:bodyPr/>
        <a:lstStyle/>
        <a:p>
          <a:endParaRPr lang="de-CH"/>
        </a:p>
      </dgm:t>
    </dgm:pt>
    <dgm:pt modelId="{4DEB4247-A23E-44F7-A776-5A9F2A136BE7}" type="sibTrans" cxnId="{0074E214-FF58-4F01-BE18-56BBA568E289}">
      <dgm:prSet/>
      <dgm:spPr/>
      <dgm:t>
        <a:bodyPr/>
        <a:lstStyle/>
        <a:p>
          <a:endParaRPr lang="de-CH"/>
        </a:p>
      </dgm:t>
    </dgm:pt>
    <dgm:pt modelId="{354C242F-C8DB-4405-8945-6FD36470198A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15</a:t>
          </a:r>
        </a:p>
      </dgm:t>
    </dgm:pt>
    <dgm:pt modelId="{C5EBA818-2221-460F-9098-D108DC8C9243}" type="sibTrans" cxnId="{F7BE5268-7B20-4113-96D9-8A548A23BAD0}">
      <dgm:prSet/>
      <dgm:spPr/>
      <dgm:t>
        <a:bodyPr/>
        <a:lstStyle/>
        <a:p>
          <a:endParaRPr lang="de-CH"/>
        </a:p>
      </dgm:t>
    </dgm:pt>
    <dgm:pt modelId="{CD116555-1465-4323-9676-8264DF6ACBD0}" type="parTrans" cxnId="{F7BE5268-7B20-4113-96D9-8A548A23BAD0}">
      <dgm:prSet/>
      <dgm:spPr/>
      <dgm:t>
        <a:bodyPr/>
        <a:lstStyle/>
        <a:p>
          <a:endParaRPr lang="de-CH"/>
        </a:p>
      </dgm:t>
    </dgm:pt>
    <dgm:pt modelId="{483565DB-47EA-4227-86FC-092B66FAFB9E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it-IT" sz="1100" b="1" cap="none">
              <a:latin typeface="SBB Light"/>
              <a:ea typeface="SBB Light"/>
              <a:cs typeface="SBB Light"/>
              <a:sym typeface="SBB Light"/>
            </a:rPr>
            <a:t>12</a:t>
          </a:r>
        </a:p>
      </dgm:t>
    </dgm:pt>
    <dgm:pt modelId="{8852DD38-8352-4D71-927F-EA520D3958FA}" type="sibTrans" cxnId="{F7ADEEC2-D671-4FB7-B3C2-6B8858D24C8F}">
      <dgm:prSet/>
      <dgm:spPr/>
      <dgm:t>
        <a:bodyPr/>
        <a:lstStyle/>
        <a:p>
          <a:endParaRPr lang="de-CH"/>
        </a:p>
      </dgm:t>
    </dgm:pt>
    <dgm:pt modelId="{90718E9B-D169-4073-BD0E-5B41BA3032AD}" type="parTrans" cxnId="{F7ADEEC2-D671-4FB7-B3C2-6B8858D24C8F}">
      <dgm:prSet/>
      <dgm:spPr/>
      <dgm:t>
        <a:bodyPr/>
        <a:lstStyle/>
        <a:p>
          <a:endParaRPr lang="de-CH"/>
        </a:p>
      </dgm:t>
    </dgm:pt>
    <dgm:pt modelId="{14F6A482-2839-4C98-BC96-66F729C679D4}">
      <dgm:prSet custT="1"/>
      <dgm:spPr>
        <a:ln>
          <a:noFill/>
        </a:ln>
      </dgm:spPr>
      <dgm:t>
        <a:bodyPr/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it-IT" sz="900" b="1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Conclusioni sulla cultura della sicurezza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100" b="1" kern="1200" dirty="0">
            <a:latin typeface="SBB Light" pitchFamily="2" charset="0"/>
          </a:endParaRPr>
        </a:p>
        <a:p>
          <a:pPr marL="0"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it-IT" sz="90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Christina Brändli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90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(K-SQ-SI</a:t>
          </a:r>
          <a:r>
            <a:rPr lang="it-IT" sz="1100">
              <a:latin typeface="SBB Light"/>
              <a:ea typeface="SBB Light"/>
              <a:cs typeface="SBB Light"/>
              <a:sym typeface="SBB Light"/>
            </a:rPr>
            <a:t>)</a:t>
          </a:r>
        </a:p>
      </dgm:t>
    </dgm:pt>
    <dgm:pt modelId="{77F37610-51B6-4A72-961B-4AF50179C88B}" type="parTrans" cxnId="{B53735E3-DEAB-4B4B-83A6-38CB26842DE5}">
      <dgm:prSet/>
      <dgm:spPr/>
      <dgm:t>
        <a:bodyPr/>
        <a:lstStyle/>
        <a:p>
          <a:endParaRPr lang="de-CH"/>
        </a:p>
      </dgm:t>
    </dgm:pt>
    <dgm:pt modelId="{D13E485F-B4DB-4AE5-A640-3C6D61666B9C}" type="sibTrans" cxnId="{B53735E3-DEAB-4B4B-83A6-38CB26842DE5}">
      <dgm:prSet/>
      <dgm:spPr/>
      <dgm:t>
        <a:bodyPr/>
        <a:lstStyle/>
        <a:p>
          <a:endParaRPr lang="de-CH"/>
        </a:p>
      </dgm:t>
    </dgm:pt>
    <dgm:pt modelId="{38B4A03B-4935-404D-9DD8-F177CAAAFD76}">
      <dgm:prSet custT="1"/>
      <dgm:spPr>
        <a:solidFill>
          <a:srgbClr val="EB0000"/>
        </a:solidFill>
        <a:ln w="25400" cap="flat" cmpd="sng" algn="ctr">
          <a:noFill/>
          <a:prstDash val="solid"/>
        </a:ln>
        <a:effectLst/>
      </dgm:spPr>
      <dgm:t>
        <a:bodyPr spcFirstLastPara="0" vert="horz" wrap="square" lIns="6985" tIns="6985" rIns="6985" bIns="6985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100" b="1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16</a:t>
          </a:r>
        </a:p>
      </dgm:t>
    </dgm:pt>
    <dgm:pt modelId="{A45ECFBA-B25E-462E-B97C-B27B935B2E9A}" type="parTrans" cxnId="{7B21B6A8-89A8-4FA8-A0F3-5B52904A00AC}">
      <dgm:prSet/>
      <dgm:spPr/>
      <dgm:t>
        <a:bodyPr/>
        <a:lstStyle/>
        <a:p>
          <a:endParaRPr lang="de-CH"/>
        </a:p>
      </dgm:t>
    </dgm:pt>
    <dgm:pt modelId="{74474A34-66B1-457B-AD1A-63A4FCCAB704}" type="sibTrans" cxnId="{7B21B6A8-89A8-4FA8-A0F3-5B52904A00AC}">
      <dgm:prSet/>
      <dgm:spPr/>
      <dgm:t>
        <a:bodyPr/>
        <a:lstStyle/>
        <a:p>
          <a:endParaRPr lang="de-CH"/>
        </a:p>
      </dgm:t>
    </dgm:pt>
    <dgm:pt modelId="{9E4D289C-8366-4266-BE1C-FAD71A417349}" type="pres">
      <dgm:prSet presAssocID="{50E1B2F0-4A22-47E5-9098-288633BBC04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11225A69-476A-48D5-8BD3-B796A30A35FB}" type="pres">
      <dgm:prSet presAssocID="{E1E42948-A962-4296-ACD0-73911027A8C2}" presName="hierRoot1" presStyleCnt="0">
        <dgm:presLayoutVars>
          <dgm:hierBranch val="init"/>
        </dgm:presLayoutVars>
      </dgm:prSet>
      <dgm:spPr/>
    </dgm:pt>
    <dgm:pt modelId="{B9A3CB7B-DCD5-4BBB-822A-2F73016375B0}" type="pres">
      <dgm:prSet presAssocID="{E1E42948-A962-4296-ACD0-73911027A8C2}" presName="rootComposite1" presStyleCnt="0"/>
      <dgm:spPr/>
    </dgm:pt>
    <dgm:pt modelId="{6901B29F-5C4C-441E-8C99-96265A226EF6}" type="pres">
      <dgm:prSet presAssocID="{E1E42948-A962-4296-ACD0-73911027A8C2}" presName="rootText1" presStyleLbl="node0" presStyleIdx="0" presStyleCnt="1" custScaleX="409902" custScaleY="104144" custLinFactNeighborX="-5791" custLinFactNeighborY="-22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28A3E3D3-48F4-408C-9B3F-08699C1B7736}" type="pres">
      <dgm:prSet presAssocID="{E1E42948-A962-4296-ACD0-73911027A8C2}" presName="rootConnector1" presStyleLbl="node1" presStyleIdx="0" presStyleCnt="0"/>
      <dgm:spPr/>
      <dgm:t>
        <a:bodyPr/>
        <a:lstStyle/>
        <a:p>
          <a:endParaRPr lang="de-DE"/>
        </a:p>
      </dgm:t>
    </dgm:pt>
    <dgm:pt modelId="{25C5EB76-18ED-4F96-A046-5666D3B983EE}" type="pres">
      <dgm:prSet presAssocID="{E1E42948-A962-4296-ACD0-73911027A8C2}" presName="hierChild2" presStyleCnt="0"/>
      <dgm:spPr/>
    </dgm:pt>
    <dgm:pt modelId="{67C4F6B6-3394-41B7-8B0E-F80DFCBD19DB}" type="pres">
      <dgm:prSet presAssocID="{0D276855-C69D-440E-BF19-9F7FB242F22C}" presName="Name37" presStyleLbl="parChTrans1D2" presStyleIdx="0" presStyleCnt="1"/>
      <dgm:spPr/>
      <dgm:t>
        <a:bodyPr/>
        <a:lstStyle/>
        <a:p>
          <a:endParaRPr lang="de-DE"/>
        </a:p>
      </dgm:t>
    </dgm:pt>
    <dgm:pt modelId="{53562A46-3A6F-48C1-8B86-0666ECC1CCC6}" type="pres">
      <dgm:prSet presAssocID="{D4F7164A-9FF1-4F65-82AC-B9F25046820D}" presName="hierRoot2" presStyleCnt="0">
        <dgm:presLayoutVars>
          <dgm:hierBranch/>
        </dgm:presLayoutVars>
      </dgm:prSet>
      <dgm:spPr/>
    </dgm:pt>
    <dgm:pt modelId="{22F3B5E6-8312-479D-8469-8FF17BF963BE}" type="pres">
      <dgm:prSet presAssocID="{D4F7164A-9FF1-4F65-82AC-B9F25046820D}" presName="rootComposite" presStyleCnt="0"/>
      <dgm:spPr/>
    </dgm:pt>
    <dgm:pt modelId="{29C069AF-0F32-4313-A944-D801ABD5C11A}" type="pres">
      <dgm:prSet presAssocID="{D4F7164A-9FF1-4F65-82AC-B9F25046820D}" presName="rootText" presStyleLbl="node2" presStyleIdx="0" presStyleCnt="1" custScaleX="336915" custScaleY="128351" custLinFactNeighborX="-5682" custLinFactNeighborY="754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8D4351F-B03C-4F5E-828A-08731C325D0C}" type="pres">
      <dgm:prSet presAssocID="{D4F7164A-9FF1-4F65-82AC-B9F25046820D}" presName="rootConnector" presStyleLbl="node2" presStyleIdx="0" presStyleCnt="1"/>
      <dgm:spPr/>
      <dgm:t>
        <a:bodyPr/>
        <a:lstStyle/>
        <a:p>
          <a:endParaRPr lang="de-DE"/>
        </a:p>
      </dgm:t>
    </dgm:pt>
    <dgm:pt modelId="{7C9B22A8-D66C-4D09-9002-4CF5399A51BE}" type="pres">
      <dgm:prSet presAssocID="{D4F7164A-9FF1-4F65-82AC-B9F25046820D}" presName="hierChild4" presStyleCnt="0"/>
      <dgm:spPr/>
    </dgm:pt>
    <dgm:pt modelId="{39ECFB7D-FDA4-487D-9339-86F469AB46BD}" type="pres">
      <dgm:prSet presAssocID="{CA0406F1-12F9-4404-A7A5-712E89F79CB5}" presName="Name35" presStyleLbl="parChTrans1D3" presStyleIdx="0" presStyleCnt="10"/>
      <dgm:spPr/>
      <dgm:t>
        <a:bodyPr/>
        <a:lstStyle/>
        <a:p>
          <a:endParaRPr lang="de-DE"/>
        </a:p>
      </dgm:t>
    </dgm:pt>
    <dgm:pt modelId="{3BC80181-6316-4023-BF9B-80DB25C6C86E}" type="pres">
      <dgm:prSet presAssocID="{85861E5F-C30E-4A16-8BC6-C9614552F674}" presName="hierRoot2" presStyleCnt="0">
        <dgm:presLayoutVars>
          <dgm:hierBranch val="init"/>
        </dgm:presLayoutVars>
      </dgm:prSet>
      <dgm:spPr/>
    </dgm:pt>
    <dgm:pt modelId="{C340E83D-F201-45AF-87A0-892636D0C457}" type="pres">
      <dgm:prSet presAssocID="{85861E5F-C30E-4A16-8BC6-C9614552F674}" presName="rootComposite" presStyleCnt="0"/>
      <dgm:spPr/>
    </dgm:pt>
    <dgm:pt modelId="{2D0C3AD6-1409-4B25-B17F-28C412FD7280}" type="pres">
      <dgm:prSet presAssocID="{85861E5F-C30E-4A16-8BC6-C9614552F674}" presName="rootText" presStyleLbl="node3" presStyleIdx="0" presStyleCnt="5" custScaleX="122981" custScaleY="248184" custLinFactY="-34740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C9CC239-211E-42DB-8F1F-2C1755762075}" type="pres">
      <dgm:prSet presAssocID="{85861E5F-C30E-4A16-8BC6-C9614552F674}" presName="rootConnector" presStyleLbl="node3" presStyleIdx="0" presStyleCnt="5"/>
      <dgm:spPr/>
      <dgm:t>
        <a:bodyPr/>
        <a:lstStyle/>
        <a:p>
          <a:endParaRPr lang="de-DE"/>
        </a:p>
      </dgm:t>
    </dgm:pt>
    <dgm:pt modelId="{9AB59971-12EE-4E48-A5A0-6E18FCC94156}" type="pres">
      <dgm:prSet presAssocID="{85861E5F-C30E-4A16-8BC6-C9614552F674}" presName="hierChild4" presStyleCnt="0"/>
      <dgm:spPr/>
    </dgm:pt>
    <dgm:pt modelId="{402D31B9-40D5-4C8B-9091-10F54BEF1A11}" type="pres">
      <dgm:prSet presAssocID="{90718E9B-D169-4073-BD0E-5B41BA3032AD}" presName="Name37" presStyleLbl="parChTrans1D4" presStyleIdx="0" presStyleCnt="5"/>
      <dgm:spPr/>
      <dgm:t>
        <a:bodyPr/>
        <a:lstStyle/>
        <a:p>
          <a:endParaRPr lang="de-DE"/>
        </a:p>
      </dgm:t>
    </dgm:pt>
    <dgm:pt modelId="{373E12B9-9816-42CE-9614-7A2093AE4D23}" type="pres">
      <dgm:prSet presAssocID="{483565DB-47EA-4227-86FC-092B66FAFB9E}" presName="hierRoot2" presStyleCnt="0">
        <dgm:presLayoutVars>
          <dgm:hierBranch val="init"/>
        </dgm:presLayoutVars>
      </dgm:prSet>
      <dgm:spPr/>
    </dgm:pt>
    <dgm:pt modelId="{993775C7-8F15-472D-98CE-E06F7734FCC6}" type="pres">
      <dgm:prSet presAssocID="{483565DB-47EA-4227-86FC-092B66FAFB9E}" presName="rootComposite" presStyleCnt="0"/>
      <dgm:spPr/>
    </dgm:pt>
    <dgm:pt modelId="{8F0A2041-DAA7-44C4-B980-8E6EDF3F57E5}" type="pres">
      <dgm:prSet presAssocID="{483565DB-47EA-4227-86FC-092B66FAFB9E}" presName="rootText" presStyleLbl="node4" presStyleIdx="0" presStyleCnt="5" custScaleX="69115" custScaleY="57910" custLinFactY="-58359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46DF9F1-8BE0-4810-AB46-D6252566B9BA}" type="pres">
      <dgm:prSet presAssocID="{483565DB-47EA-4227-86FC-092B66FAFB9E}" presName="rootConnector" presStyleLbl="node4" presStyleIdx="0" presStyleCnt="5"/>
      <dgm:spPr/>
      <dgm:t>
        <a:bodyPr/>
        <a:lstStyle/>
        <a:p>
          <a:endParaRPr lang="de-DE"/>
        </a:p>
      </dgm:t>
    </dgm:pt>
    <dgm:pt modelId="{130498E2-5A68-438E-B1D1-E004588D8AC2}" type="pres">
      <dgm:prSet presAssocID="{483565DB-47EA-4227-86FC-092B66FAFB9E}" presName="hierChild4" presStyleCnt="0"/>
      <dgm:spPr/>
    </dgm:pt>
    <dgm:pt modelId="{E82E3051-F5EA-49AF-A6F0-8E09ECD133EE}" type="pres">
      <dgm:prSet presAssocID="{483565DB-47EA-4227-86FC-092B66FAFB9E}" presName="hierChild5" presStyleCnt="0"/>
      <dgm:spPr/>
    </dgm:pt>
    <dgm:pt modelId="{9989F863-589F-467C-AA26-A65D3589B1C3}" type="pres">
      <dgm:prSet presAssocID="{85861E5F-C30E-4A16-8BC6-C9614552F674}" presName="hierChild5" presStyleCnt="0"/>
      <dgm:spPr/>
    </dgm:pt>
    <dgm:pt modelId="{3EC0F114-690B-48EE-B61F-D4A1BA42BE4E}" type="pres">
      <dgm:prSet presAssocID="{EC53749C-46C7-488D-AA63-655AFD2389C5}" presName="Name35" presStyleLbl="parChTrans1D3" presStyleIdx="1" presStyleCnt="10"/>
      <dgm:spPr/>
      <dgm:t>
        <a:bodyPr/>
        <a:lstStyle/>
        <a:p>
          <a:endParaRPr lang="de-DE"/>
        </a:p>
      </dgm:t>
    </dgm:pt>
    <dgm:pt modelId="{9C016EDB-41DD-4855-A05D-8686EE584106}" type="pres">
      <dgm:prSet presAssocID="{F81E21DA-FD6E-4C6D-9C53-8BA0BD4A254D}" presName="hierRoot2" presStyleCnt="0">
        <dgm:presLayoutVars>
          <dgm:hierBranch val="init"/>
        </dgm:presLayoutVars>
      </dgm:prSet>
      <dgm:spPr/>
    </dgm:pt>
    <dgm:pt modelId="{A361F840-2748-4F41-B775-3CA7F853F3B1}" type="pres">
      <dgm:prSet presAssocID="{F81E21DA-FD6E-4C6D-9C53-8BA0BD4A254D}" presName="rootComposite" presStyleCnt="0"/>
      <dgm:spPr/>
    </dgm:pt>
    <dgm:pt modelId="{8F3C0838-EAD2-4337-808B-2DCD768D9FE9}" type="pres">
      <dgm:prSet presAssocID="{F81E21DA-FD6E-4C6D-9C53-8BA0BD4A254D}" presName="rootText" presStyleLbl="node3" presStyleIdx="1" presStyleCnt="5" custScaleX="122981" custScaleY="248184" custLinFactY="-34740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535457D-07BF-4A9D-A749-6851B2037068}" type="pres">
      <dgm:prSet presAssocID="{F81E21DA-FD6E-4C6D-9C53-8BA0BD4A254D}" presName="rootConnector" presStyleLbl="node3" presStyleIdx="1" presStyleCnt="5"/>
      <dgm:spPr/>
      <dgm:t>
        <a:bodyPr/>
        <a:lstStyle/>
        <a:p>
          <a:endParaRPr lang="de-DE"/>
        </a:p>
      </dgm:t>
    </dgm:pt>
    <dgm:pt modelId="{8BDB22CA-2BE7-4027-BC54-5A0B1125D0E7}" type="pres">
      <dgm:prSet presAssocID="{F81E21DA-FD6E-4C6D-9C53-8BA0BD4A254D}" presName="hierChild4" presStyleCnt="0"/>
      <dgm:spPr/>
    </dgm:pt>
    <dgm:pt modelId="{8E216525-7A8C-45E4-9597-88ED3603AF3B}" type="pres">
      <dgm:prSet presAssocID="{140717A6-7A7E-4078-ABC0-69623BEAC1F6}" presName="Name37" presStyleLbl="parChTrans1D4" presStyleIdx="1" presStyleCnt="5"/>
      <dgm:spPr/>
      <dgm:t>
        <a:bodyPr/>
        <a:lstStyle/>
        <a:p>
          <a:endParaRPr lang="de-DE"/>
        </a:p>
      </dgm:t>
    </dgm:pt>
    <dgm:pt modelId="{342FBF40-80B0-4819-A1ED-4376283C8234}" type="pres">
      <dgm:prSet presAssocID="{1901BCD9-3251-477B-88A0-9A8AED30AFE0}" presName="hierRoot2" presStyleCnt="0">
        <dgm:presLayoutVars>
          <dgm:hierBranch val="init"/>
        </dgm:presLayoutVars>
      </dgm:prSet>
      <dgm:spPr/>
    </dgm:pt>
    <dgm:pt modelId="{FBF339D6-EB9D-4C48-89B2-880FCE99C42D}" type="pres">
      <dgm:prSet presAssocID="{1901BCD9-3251-477B-88A0-9A8AED30AFE0}" presName="rootComposite" presStyleCnt="0"/>
      <dgm:spPr/>
    </dgm:pt>
    <dgm:pt modelId="{4E90235C-3906-45B2-81E2-69236A8E39C0}" type="pres">
      <dgm:prSet presAssocID="{1901BCD9-3251-477B-88A0-9A8AED30AFE0}" presName="rootText" presStyleLbl="node4" presStyleIdx="1" presStyleCnt="5" custScaleX="69115" custScaleY="57910" custLinFactY="-58359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B49B10D-594D-4052-8BC6-C8D2C91852FA}" type="pres">
      <dgm:prSet presAssocID="{1901BCD9-3251-477B-88A0-9A8AED30AFE0}" presName="rootConnector" presStyleLbl="node4" presStyleIdx="1" presStyleCnt="5"/>
      <dgm:spPr/>
      <dgm:t>
        <a:bodyPr/>
        <a:lstStyle/>
        <a:p>
          <a:endParaRPr lang="de-DE"/>
        </a:p>
      </dgm:t>
    </dgm:pt>
    <dgm:pt modelId="{C47144E3-2474-4C46-8261-95C282584C17}" type="pres">
      <dgm:prSet presAssocID="{1901BCD9-3251-477B-88A0-9A8AED30AFE0}" presName="hierChild4" presStyleCnt="0"/>
      <dgm:spPr/>
    </dgm:pt>
    <dgm:pt modelId="{841EE1D2-49B5-4935-9FBC-6A909FD7410E}" type="pres">
      <dgm:prSet presAssocID="{1901BCD9-3251-477B-88A0-9A8AED30AFE0}" presName="hierChild5" presStyleCnt="0"/>
      <dgm:spPr/>
    </dgm:pt>
    <dgm:pt modelId="{BFCF6F70-5D33-47A9-8A03-55E4175F7A09}" type="pres">
      <dgm:prSet presAssocID="{F81E21DA-FD6E-4C6D-9C53-8BA0BD4A254D}" presName="hierChild5" presStyleCnt="0"/>
      <dgm:spPr/>
    </dgm:pt>
    <dgm:pt modelId="{001B9108-3DA0-4F08-BEA9-00AD4F1FFE1B}" type="pres">
      <dgm:prSet presAssocID="{49936F48-8DD0-493E-85C9-D0AFBA68A87B}" presName="Name35" presStyleLbl="parChTrans1D3" presStyleIdx="2" presStyleCnt="10"/>
      <dgm:spPr/>
      <dgm:t>
        <a:bodyPr/>
        <a:lstStyle/>
        <a:p>
          <a:endParaRPr lang="de-DE"/>
        </a:p>
      </dgm:t>
    </dgm:pt>
    <dgm:pt modelId="{756DEC35-F376-4D3F-9BFB-4C00E78BFFD9}" type="pres">
      <dgm:prSet presAssocID="{3A40DFC6-CEB8-49A2-8A08-61F2AC6F453F}" presName="hierRoot2" presStyleCnt="0">
        <dgm:presLayoutVars>
          <dgm:hierBranch val="init"/>
        </dgm:presLayoutVars>
      </dgm:prSet>
      <dgm:spPr/>
    </dgm:pt>
    <dgm:pt modelId="{66A5BC1E-83EA-476C-B8D9-3B9C8E4C5E39}" type="pres">
      <dgm:prSet presAssocID="{3A40DFC6-CEB8-49A2-8A08-61F2AC6F453F}" presName="rootComposite" presStyleCnt="0"/>
      <dgm:spPr/>
    </dgm:pt>
    <dgm:pt modelId="{B0AB5278-3EC8-4898-9375-770F4AA7E79E}" type="pres">
      <dgm:prSet presAssocID="{3A40DFC6-CEB8-49A2-8A08-61F2AC6F453F}" presName="rootText" presStyleLbl="node3" presStyleIdx="2" presStyleCnt="5" custScaleX="122981" custScaleY="248184" custLinFactY="-34740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066C3BA-3E53-4636-93F3-C2E31E911888}" type="pres">
      <dgm:prSet presAssocID="{3A40DFC6-CEB8-49A2-8A08-61F2AC6F453F}" presName="rootConnector" presStyleLbl="node3" presStyleIdx="2" presStyleCnt="5"/>
      <dgm:spPr/>
      <dgm:t>
        <a:bodyPr/>
        <a:lstStyle/>
        <a:p>
          <a:endParaRPr lang="de-DE"/>
        </a:p>
      </dgm:t>
    </dgm:pt>
    <dgm:pt modelId="{FAE1AEAE-6B47-437A-8A58-FDD62088520D}" type="pres">
      <dgm:prSet presAssocID="{3A40DFC6-CEB8-49A2-8A08-61F2AC6F453F}" presName="hierChild4" presStyleCnt="0"/>
      <dgm:spPr/>
    </dgm:pt>
    <dgm:pt modelId="{A1EDFBE0-B4F6-4B1D-96C6-DDB3CDC50B58}" type="pres">
      <dgm:prSet presAssocID="{22222F70-B26E-4775-8A77-BAF70CD68F9D}" presName="Name37" presStyleLbl="parChTrans1D4" presStyleIdx="2" presStyleCnt="5"/>
      <dgm:spPr/>
      <dgm:t>
        <a:bodyPr/>
        <a:lstStyle/>
        <a:p>
          <a:endParaRPr lang="de-DE"/>
        </a:p>
      </dgm:t>
    </dgm:pt>
    <dgm:pt modelId="{207F234E-9649-43E6-B22B-455D9C9EB197}" type="pres">
      <dgm:prSet presAssocID="{D4F561AE-AE9B-4801-A294-6F70D893C01B}" presName="hierRoot2" presStyleCnt="0">
        <dgm:presLayoutVars>
          <dgm:hierBranch val="init"/>
        </dgm:presLayoutVars>
      </dgm:prSet>
      <dgm:spPr/>
    </dgm:pt>
    <dgm:pt modelId="{08D8DA2C-94C5-41B8-BDD0-BC7AEDE2D1C7}" type="pres">
      <dgm:prSet presAssocID="{D4F561AE-AE9B-4801-A294-6F70D893C01B}" presName="rootComposite" presStyleCnt="0"/>
      <dgm:spPr/>
    </dgm:pt>
    <dgm:pt modelId="{6CE0EE06-402F-48FD-95E6-AEF5FF10BBD2}" type="pres">
      <dgm:prSet presAssocID="{D4F561AE-AE9B-4801-A294-6F70D893C01B}" presName="rootText" presStyleLbl="node4" presStyleIdx="2" presStyleCnt="5" custScaleX="69115" custScaleY="57910" custLinFactY="-58359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1E91CBA-367A-45AA-894C-EA6728194538}" type="pres">
      <dgm:prSet presAssocID="{D4F561AE-AE9B-4801-A294-6F70D893C01B}" presName="rootConnector" presStyleLbl="node4" presStyleIdx="2" presStyleCnt="5"/>
      <dgm:spPr/>
      <dgm:t>
        <a:bodyPr/>
        <a:lstStyle/>
        <a:p>
          <a:endParaRPr lang="de-DE"/>
        </a:p>
      </dgm:t>
    </dgm:pt>
    <dgm:pt modelId="{0D472ACA-41B7-4ACB-81E0-FBE53C775C03}" type="pres">
      <dgm:prSet presAssocID="{D4F561AE-AE9B-4801-A294-6F70D893C01B}" presName="hierChild4" presStyleCnt="0"/>
      <dgm:spPr/>
    </dgm:pt>
    <dgm:pt modelId="{F3EB94B1-21F0-4A91-AD34-9349A87FA299}" type="pres">
      <dgm:prSet presAssocID="{D4F561AE-AE9B-4801-A294-6F70D893C01B}" presName="hierChild5" presStyleCnt="0"/>
      <dgm:spPr/>
    </dgm:pt>
    <dgm:pt modelId="{5073A536-24FF-4E87-9FF7-80A9908A31CE}" type="pres">
      <dgm:prSet presAssocID="{3A40DFC6-CEB8-49A2-8A08-61F2AC6F453F}" presName="hierChild5" presStyleCnt="0"/>
      <dgm:spPr/>
    </dgm:pt>
    <dgm:pt modelId="{57B71D01-2243-46FB-A062-2CACC7346822}" type="pres">
      <dgm:prSet presAssocID="{57E2656F-B0F0-4934-B9F0-BEF0BDA7831B}" presName="Name35" presStyleLbl="parChTrans1D3" presStyleIdx="3" presStyleCnt="10"/>
      <dgm:spPr/>
      <dgm:t>
        <a:bodyPr/>
        <a:lstStyle/>
        <a:p>
          <a:endParaRPr lang="de-DE"/>
        </a:p>
      </dgm:t>
    </dgm:pt>
    <dgm:pt modelId="{1A943425-DEB7-4D17-BEFC-912CC8F22A2A}" type="pres">
      <dgm:prSet presAssocID="{59E21C72-2D75-4B59-825F-E4B705871538}" presName="hierRoot2" presStyleCnt="0">
        <dgm:presLayoutVars>
          <dgm:hierBranch val="init"/>
        </dgm:presLayoutVars>
      </dgm:prSet>
      <dgm:spPr/>
    </dgm:pt>
    <dgm:pt modelId="{98CF9D1B-7EC3-4EB2-BCCB-C9D8A5F52164}" type="pres">
      <dgm:prSet presAssocID="{59E21C72-2D75-4B59-825F-E4B705871538}" presName="rootComposite" presStyleCnt="0"/>
      <dgm:spPr/>
    </dgm:pt>
    <dgm:pt modelId="{6FDEB2FC-CC9A-4BCC-AD31-91C660A6F016}" type="pres">
      <dgm:prSet presAssocID="{59E21C72-2D75-4B59-825F-E4B705871538}" presName="rootText" presStyleLbl="node3" presStyleIdx="3" presStyleCnt="5" custScaleX="122981" custScaleY="248184" custLinFactY="-34740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44089CB8-F10E-42BC-A824-8141447EA60E}" type="pres">
      <dgm:prSet presAssocID="{59E21C72-2D75-4B59-825F-E4B705871538}" presName="rootConnector" presStyleLbl="node3" presStyleIdx="3" presStyleCnt="5"/>
      <dgm:spPr/>
      <dgm:t>
        <a:bodyPr/>
        <a:lstStyle/>
        <a:p>
          <a:endParaRPr lang="de-DE"/>
        </a:p>
      </dgm:t>
    </dgm:pt>
    <dgm:pt modelId="{27DFD8EC-3052-4733-8C2A-A0010205F551}" type="pres">
      <dgm:prSet presAssocID="{59E21C72-2D75-4B59-825F-E4B705871538}" presName="hierChild4" presStyleCnt="0"/>
      <dgm:spPr/>
    </dgm:pt>
    <dgm:pt modelId="{C134ECE4-5EDD-42B3-B754-63C8EBACB2F0}" type="pres">
      <dgm:prSet presAssocID="{CD116555-1465-4323-9676-8264DF6ACBD0}" presName="Name37" presStyleLbl="parChTrans1D4" presStyleIdx="3" presStyleCnt="5"/>
      <dgm:spPr/>
      <dgm:t>
        <a:bodyPr/>
        <a:lstStyle/>
        <a:p>
          <a:endParaRPr lang="de-DE"/>
        </a:p>
      </dgm:t>
    </dgm:pt>
    <dgm:pt modelId="{F2435737-577F-4389-BAFF-FCBFB5084FE6}" type="pres">
      <dgm:prSet presAssocID="{354C242F-C8DB-4405-8945-6FD36470198A}" presName="hierRoot2" presStyleCnt="0">
        <dgm:presLayoutVars>
          <dgm:hierBranch val="init"/>
        </dgm:presLayoutVars>
      </dgm:prSet>
      <dgm:spPr/>
    </dgm:pt>
    <dgm:pt modelId="{E95AB739-02EA-47F6-A837-11380DE902EC}" type="pres">
      <dgm:prSet presAssocID="{354C242F-C8DB-4405-8945-6FD36470198A}" presName="rootComposite" presStyleCnt="0"/>
      <dgm:spPr/>
    </dgm:pt>
    <dgm:pt modelId="{62FEDEBB-EA1B-4261-8C6A-66F124073364}" type="pres">
      <dgm:prSet presAssocID="{354C242F-C8DB-4405-8945-6FD36470198A}" presName="rootText" presStyleLbl="node4" presStyleIdx="3" presStyleCnt="5" custScaleX="69115" custScaleY="57910" custLinFactY="-58359" custLinFactNeighborX="811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DB0B6A4-65CD-46EA-8D80-D9E439A6D476}" type="pres">
      <dgm:prSet presAssocID="{354C242F-C8DB-4405-8945-6FD36470198A}" presName="rootConnector" presStyleLbl="node4" presStyleIdx="3" presStyleCnt="5"/>
      <dgm:spPr/>
      <dgm:t>
        <a:bodyPr/>
        <a:lstStyle/>
        <a:p>
          <a:endParaRPr lang="de-DE"/>
        </a:p>
      </dgm:t>
    </dgm:pt>
    <dgm:pt modelId="{0968D4E1-3897-43BE-9929-77E174154337}" type="pres">
      <dgm:prSet presAssocID="{354C242F-C8DB-4405-8945-6FD36470198A}" presName="hierChild4" presStyleCnt="0"/>
      <dgm:spPr/>
    </dgm:pt>
    <dgm:pt modelId="{43A1CA24-8172-42E7-A0C3-D44F6E7FDBC3}" type="pres">
      <dgm:prSet presAssocID="{354C242F-C8DB-4405-8945-6FD36470198A}" presName="hierChild5" presStyleCnt="0"/>
      <dgm:spPr/>
    </dgm:pt>
    <dgm:pt modelId="{B3EBE91E-E82B-4319-996E-CCB67A95EFF4}" type="pres">
      <dgm:prSet presAssocID="{59E21C72-2D75-4B59-825F-E4B705871538}" presName="hierChild5" presStyleCnt="0"/>
      <dgm:spPr/>
    </dgm:pt>
    <dgm:pt modelId="{77B45CA3-1130-41F4-B279-5BE3728C53C0}" type="pres">
      <dgm:prSet presAssocID="{77F37610-51B6-4A72-961B-4AF50179C88B}" presName="Name35" presStyleLbl="parChTrans1D3" presStyleIdx="4" presStyleCnt="10"/>
      <dgm:spPr/>
      <dgm:t>
        <a:bodyPr/>
        <a:lstStyle/>
        <a:p>
          <a:endParaRPr lang="de-DE"/>
        </a:p>
      </dgm:t>
    </dgm:pt>
    <dgm:pt modelId="{49385746-3D56-4B3D-876F-D031025C2277}" type="pres">
      <dgm:prSet presAssocID="{14F6A482-2839-4C98-BC96-66F729C679D4}" presName="hierRoot2" presStyleCnt="0">
        <dgm:presLayoutVars>
          <dgm:hierBranch val="init"/>
        </dgm:presLayoutVars>
      </dgm:prSet>
      <dgm:spPr/>
    </dgm:pt>
    <dgm:pt modelId="{702A42FB-CF42-4D78-8C23-63D91BA2AE82}" type="pres">
      <dgm:prSet presAssocID="{14F6A482-2839-4C98-BC96-66F729C679D4}" presName="rootComposite" presStyleCnt="0"/>
      <dgm:spPr/>
    </dgm:pt>
    <dgm:pt modelId="{0D29A56B-5629-4450-B419-49CCA9251D34}" type="pres">
      <dgm:prSet presAssocID="{14F6A482-2839-4C98-BC96-66F729C679D4}" presName="rootText" presStyleLbl="node3" presStyleIdx="4" presStyleCnt="5" custScaleX="122981" custScaleY="248184" custLinFactY="-34740" custLinFactNeighborY="-10000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D98CCA66-FFE3-4262-8195-E27F6EDDA1E0}" type="pres">
      <dgm:prSet presAssocID="{14F6A482-2839-4C98-BC96-66F729C679D4}" presName="rootConnector" presStyleLbl="node3" presStyleIdx="4" presStyleCnt="5"/>
      <dgm:spPr/>
      <dgm:t>
        <a:bodyPr/>
        <a:lstStyle/>
        <a:p>
          <a:endParaRPr lang="de-DE"/>
        </a:p>
      </dgm:t>
    </dgm:pt>
    <dgm:pt modelId="{B23F1F0E-75BB-4F8D-BCE4-91E02A6E2280}" type="pres">
      <dgm:prSet presAssocID="{14F6A482-2839-4C98-BC96-66F729C679D4}" presName="hierChild4" presStyleCnt="0"/>
      <dgm:spPr/>
    </dgm:pt>
    <dgm:pt modelId="{BD9014BC-34FD-4282-8A53-6A033548C5C5}" type="pres">
      <dgm:prSet presAssocID="{A45ECFBA-B25E-462E-B97C-B27B935B2E9A}" presName="Name37" presStyleLbl="parChTrans1D4" presStyleIdx="4" presStyleCnt="5"/>
      <dgm:spPr/>
      <dgm:t>
        <a:bodyPr/>
        <a:lstStyle/>
        <a:p>
          <a:endParaRPr lang="de-DE"/>
        </a:p>
      </dgm:t>
    </dgm:pt>
    <dgm:pt modelId="{E9D87A42-1D36-433A-94BD-A0E2B0CAD1A5}" type="pres">
      <dgm:prSet presAssocID="{38B4A03B-4935-404D-9DD8-F177CAAAFD76}" presName="hierRoot2" presStyleCnt="0">
        <dgm:presLayoutVars>
          <dgm:hierBranch val="init"/>
        </dgm:presLayoutVars>
      </dgm:prSet>
      <dgm:spPr/>
    </dgm:pt>
    <dgm:pt modelId="{D72B4B47-6694-4752-AAA8-EA6F492D04FC}" type="pres">
      <dgm:prSet presAssocID="{38B4A03B-4935-404D-9DD8-F177CAAAFD76}" presName="rootComposite" presStyleCnt="0"/>
      <dgm:spPr/>
    </dgm:pt>
    <dgm:pt modelId="{92BAD177-2A04-4C8C-91C0-487BFF6C2E5A}" type="pres">
      <dgm:prSet presAssocID="{38B4A03B-4935-404D-9DD8-F177CAAAFD76}" presName="rootText" presStyleLbl="node4" presStyleIdx="4" presStyleCnt="5" custScaleX="69041" custScaleY="58024" custLinFactY="-58321" custLinFactNeighborX="-9636" custLinFactNeighborY="-100000">
        <dgm:presLayoutVars>
          <dgm:chPref val="3"/>
        </dgm:presLayoutVars>
      </dgm:prSet>
      <dgm:spPr>
        <a:xfrm>
          <a:off x="6800638" y="4266164"/>
          <a:ext cx="967877" cy="373160"/>
        </a:xfrm>
        <a:prstGeom prst="rect">
          <a:avLst/>
        </a:prstGeom>
      </dgm:spPr>
      <dgm:t>
        <a:bodyPr/>
        <a:lstStyle/>
        <a:p>
          <a:endParaRPr lang="de-DE"/>
        </a:p>
      </dgm:t>
    </dgm:pt>
    <dgm:pt modelId="{BBCD65AD-8146-4CAD-89DE-695BCD97AA98}" type="pres">
      <dgm:prSet presAssocID="{38B4A03B-4935-404D-9DD8-F177CAAAFD76}" presName="rootConnector" presStyleLbl="node4" presStyleIdx="4" presStyleCnt="5"/>
      <dgm:spPr/>
      <dgm:t>
        <a:bodyPr/>
        <a:lstStyle/>
        <a:p>
          <a:endParaRPr lang="de-DE"/>
        </a:p>
      </dgm:t>
    </dgm:pt>
    <dgm:pt modelId="{EF1A68D1-0A65-4599-B45B-13A833E55FA6}" type="pres">
      <dgm:prSet presAssocID="{38B4A03B-4935-404D-9DD8-F177CAAAFD76}" presName="hierChild4" presStyleCnt="0"/>
      <dgm:spPr/>
    </dgm:pt>
    <dgm:pt modelId="{1207F2E4-44E0-4433-8CE4-D67C25D2F5F7}" type="pres">
      <dgm:prSet presAssocID="{38B4A03B-4935-404D-9DD8-F177CAAAFD76}" presName="hierChild5" presStyleCnt="0"/>
      <dgm:spPr/>
    </dgm:pt>
    <dgm:pt modelId="{389FCC66-EFFF-4B92-8DFC-36D8F197B032}" type="pres">
      <dgm:prSet presAssocID="{14F6A482-2839-4C98-BC96-66F729C679D4}" presName="hierChild5" presStyleCnt="0"/>
      <dgm:spPr/>
    </dgm:pt>
    <dgm:pt modelId="{A8179C13-68A2-4C8A-BD7B-33B3EA030D02}" type="pres">
      <dgm:prSet presAssocID="{D4F7164A-9FF1-4F65-82AC-B9F25046820D}" presName="hierChild5" presStyleCnt="0"/>
      <dgm:spPr/>
    </dgm:pt>
    <dgm:pt modelId="{AF6EDF22-D0EC-4339-A430-3597838F18C9}" type="pres">
      <dgm:prSet presAssocID="{453A13CE-3AA3-4C9F-B7F7-90265CCFDBB3}" presName="Name111" presStyleLbl="parChTrans1D3" presStyleIdx="5" presStyleCnt="10"/>
      <dgm:spPr/>
      <dgm:t>
        <a:bodyPr/>
        <a:lstStyle/>
        <a:p>
          <a:endParaRPr lang="de-DE"/>
        </a:p>
      </dgm:t>
    </dgm:pt>
    <dgm:pt modelId="{FEE5B9B6-1E4A-4A02-8DBE-0C0AFE17D6E5}" type="pres">
      <dgm:prSet presAssocID="{B38FC32D-7CC4-43AF-9124-DCFA0F4DF293}" presName="hierRoot3" presStyleCnt="0">
        <dgm:presLayoutVars>
          <dgm:hierBranch val="init"/>
        </dgm:presLayoutVars>
      </dgm:prSet>
      <dgm:spPr/>
    </dgm:pt>
    <dgm:pt modelId="{6B5E8D30-B02C-4B26-836B-3ED231EDA972}" type="pres">
      <dgm:prSet presAssocID="{B38FC32D-7CC4-43AF-9124-DCFA0F4DF293}" presName="rootComposite3" presStyleCnt="0"/>
      <dgm:spPr/>
    </dgm:pt>
    <dgm:pt modelId="{4430D1F1-4169-4541-9E38-94BB66275897}" type="pres">
      <dgm:prSet presAssocID="{B38FC32D-7CC4-43AF-9124-DCFA0F4DF293}" presName="rootText3" presStyleLbl="asst2" presStyleIdx="0" presStyleCnt="5" custScaleX="203715" custScaleY="88894" custLinFactNeighborX="-47674" custLinFactNeighborY="1121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5AC39B6-E2E1-4A6D-8C5E-FBC75C7A6F00}" type="pres">
      <dgm:prSet presAssocID="{B38FC32D-7CC4-43AF-9124-DCFA0F4DF293}" presName="rootConnector3" presStyleLbl="asst2" presStyleIdx="0" presStyleCnt="5"/>
      <dgm:spPr/>
      <dgm:t>
        <a:bodyPr/>
        <a:lstStyle/>
        <a:p>
          <a:endParaRPr lang="de-DE"/>
        </a:p>
      </dgm:t>
    </dgm:pt>
    <dgm:pt modelId="{70D5D2D4-2E99-4C6B-811E-7D4E805AA104}" type="pres">
      <dgm:prSet presAssocID="{B38FC32D-7CC4-43AF-9124-DCFA0F4DF293}" presName="hierChild6" presStyleCnt="0"/>
      <dgm:spPr/>
    </dgm:pt>
    <dgm:pt modelId="{CB2316CC-217C-4ACB-8075-106343AD20E2}" type="pres">
      <dgm:prSet presAssocID="{B38FC32D-7CC4-43AF-9124-DCFA0F4DF293}" presName="hierChild7" presStyleCnt="0"/>
      <dgm:spPr/>
    </dgm:pt>
    <dgm:pt modelId="{4346862A-16D4-4BFD-BD18-C1B68F2901A7}" type="pres">
      <dgm:prSet presAssocID="{57EB8D8D-0B16-46FA-9CE7-8732E2B4A3E7}" presName="Name111" presStyleLbl="parChTrans1D3" presStyleIdx="6" presStyleCnt="10"/>
      <dgm:spPr/>
      <dgm:t>
        <a:bodyPr/>
        <a:lstStyle/>
        <a:p>
          <a:endParaRPr lang="de-DE"/>
        </a:p>
      </dgm:t>
    </dgm:pt>
    <dgm:pt modelId="{DDC2A43C-032E-42AA-ADFB-4B101FF63BD5}" type="pres">
      <dgm:prSet presAssocID="{E6C70B32-CBF9-49A0-AA12-9213BA3C6C7C}" presName="hierRoot3" presStyleCnt="0">
        <dgm:presLayoutVars>
          <dgm:hierBranch val="init"/>
        </dgm:presLayoutVars>
      </dgm:prSet>
      <dgm:spPr/>
    </dgm:pt>
    <dgm:pt modelId="{B7F742A2-2D62-4B2B-AE1D-701244D0D64D}" type="pres">
      <dgm:prSet presAssocID="{E6C70B32-CBF9-49A0-AA12-9213BA3C6C7C}" presName="rootComposite3" presStyleCnt="0"/>
      <dgm:spPr/>
    </dgm:pt>
    <dgm:pt modelId="{4EF84C94-F6CA-484F-B52B-606432443C05}" type="pres">
      <dgm:prSet presAssocID="{E6C70B32-CBF9-49A0-AA12-9213BA3C6C7C}" presName="rootText3" presStyleLbl="asst2" presStyleIdx="1" presStyleCnt="5" custScaleX="203715" custScaleY="88894" custLinFactNeighborX="72311" custLinFactNeighborY="1121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F44C2CA-A632-40E2-A8BD-1DF70D0A6920}" type="pres">
      <dgm:prSet presAssocID="{E6C70B32-CBF9-49A0-AA12-9213BA3C6C7C}" presName="rootConnector3" presStyleLbl="asst2" presStyleIdx="1" presStyleCnt="5"/>
      <dgm:spPr/>
      <dgm:t>
        <a:bodyPr/>
        <a:lstStyle/>
        <a:p>
          <a:endParaRPr lang="de-DE"/>
        </a:p>
      </dgm:t>
    </dgm:pt>
    <dgm:pt modelId="{59207D52-A38B-464D-BBD6-D4EB5A52E3C6}" type="pres">
      <dgm:prSet presAssocID="{E6C70B32-CBF9-49A0-AA12-9213BA3C6C7C}" presName="hierChild6" presStyleCnt="0"/>
      <dgm:spPr/>
    </dgm:pt>
    <dgm:pt modelId="{985D0A05-797F-4CB9-BA05-B99D0F2D0B29}" type="pres">
      <dgm:prSet presAssocID="{E6C70B32-CBF9-49A0-AA12-9213BA3C6C7C}" presName="hierChild7" presStyleCnt="0"/>
      <dgm:spPr/>
    </dgm:pt>
    <dgm:pt modelId="{955B6202-4E04-4449-85D3-31113D7D0F18}" type="pres">
      <dgm:prSet presAssocID="{38F2A94C-DA89-4D87-B65E-E804A4874A9B}" presName="Name111" presStyleLbl="parChTrans1D3" presStyleIdx="7" presStyleCnt="10"/>
      <dgm:spPr/>
      <dgm:t>
        <a:bodyPr/>
        <a:lstStyle/>
        <a:p>
          <a:endParaRPr lang="de-DE"/>
        </a:p>
      </dgm:t>
    </dgm:pt>
    <dgm:pt modelId="{A2737802-CC0A-45B9-B0D7-FAB7BFC7E077}" type="pres">
      <dgm:prSet presAssocID="{E9801196-6D03-48AB-B988-68FF40EDD9E3}" presName="hierRoot3" presStyleCnt="0">
        <dgm:presLayoutVars>
          <dgm:hierBranch val="init"/>
        </dgm:presLayoutVars>
      </dgm:prSet>
      <dgm:spPr/>
    </dgm:pt>
    <dgm:pt modelId="{F766E87D-9A61-4FF7-B1D7-A4F51FB72A5F}" type="pres">
      <dgm:prSet presAssocID="{E9801196-6D03-48AB-B988-68FF40EDD9E3}" presName="rootComposite3" presStyleCnt="0"/>
      <dgm:spPr/>
    </dgm:pt>
    <dgm:pt modelId="{7C636518-A830-4675-B1FC-16D96E0BE54F}" type="pres">
      <dgm:prSet presAssocID="{E9801196-6D03-48AB-B988-68FF40EDD9E3}" presName="rootText3" presStyleLbl="asst2" presStyleIdx="2" presStyleCnt="5" custScaleX="203715" custScaleY="88894" custLinFactX="-5565" custLinFactNeighborX="-100000" custLinFactNeighborY="449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79AA34D1-285F-498D-AD9D-EB676762D840}" type="pres">
      <dgm:prSet presAssocID="{E9801196-6D03-48AB-B988-68FF40EDD9E3}" presName="rootConnector3" presStyleLbl="asst2" presStyleIdx="2" presStyleCnt="5"/>
      <dgm:spPr/>
      <dgm:t>
        <a:bodyPr/>
        <a:lstStyle/>
        <a:p>
          <a:endParaRPr lang="de-DE"/>
        </a:p>
      </dgm:t>
    </dgm:pt>
    <dgm:pt modelId="{90C8AAA7-44BD-42C9-A4D7-A30DF430017B}" type="pres">
      <dgm:prSet presAssocID="{E9801196-6D03-48AB-B988-68FF40EDD9E3}" presName="hierChild6" presStyleCnt="0"/>
      <dgm:spPr/>
    </dgm:pt>
    <dgm:pt modelId="{DD3347DC-1906-421D-AB49-5519C757CBDA}" type="pres">
      <dgm:prSet presAssocID="{E9801196-6D03-48AB-B988-68FF40EDD9E3}" presName="hierChild7" presStyleCnt="0"/>
      <dgm:spPr/>
    </dgm:pt>
    <dgm:pt modelId="{295B7631-8540-4F99-B9E3-4B496242F73C}" type="pres">
      <dgm:prSet presAssocID="{D816F4A7-CC30-4C25-874D-5475F3B5FB08}" presName="Name111" presStyleLbl="parChTrans1D3" presStyleIdx="8" presStyleCnt="10"/>
      <dgm:spPr/>
      <dgm:t>
        <a:bodyPr/>
        <a:lstStyle/>
        <a:p>
          <a:endParaRPr lang="de-DE"/>
        </a:p>
      </dgm:t>
    </dgm:pt>
    <dgm:pt modelId="{2935A04B-B269-41A5-B13F-2C13D642B8B5}" type="pres">
      <dgm:prSet presAssocID="{3F9D6342-B5A7-49AB-B511-C63B700C30AA}" presName="hierRoot3" presStyleCnt="0">
        <dgm:presLayoutVars>
          <dgm:hierBranch val="init"/>
        </dgm:presLayoutVars>
      </dgm:prSet>
      <dgm:spPr/>
    </dgm:pt>
    <dgm:pt modelId="{0D7DD1BF-9AFE-40E5-A84B-95A9CE23B3B5}" type="pres">
      <dgm:prSet presAssocID="{3F9D6342-B5A7-49AB-B511-C63B700C30AA}" presName="rootComposite3" presStyleCnt="0"/>
      <dgm:spPr/>
    </dgm:pt>
    <dgm:pt modelId="{81AD70D2-FA4A-4F67-AB41-4CAD174C56B9}" type="pres">
      <dgm:prSet presAssocID="{3F9D6342-B5A7-49AB-B511-C63B700C30AA}" presName="rootText3" presStyleLbl="asst2" presStyleIdx="3" presStyleCnt="5" custScaleX="203715" custScaleY="88894" custLinFactX="20003" custLinFactNeighborX="100000" custLinFactNeighborY="449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BBF1B67-0D72-4175-B1D6-E4E812CE4849}" type="pres">
      <dgm:prSet presAssocID="{3F9D6342-B5A7-49AB-B511-C63B700C30AA}" presName="rootConnector3" presStyleLbl="asst2" presStyleIdx="3" presStyleCnt="5"/>
      <dgm:spPr/>
      <dgm:t>
        <a:bodyPr/>
        <a:lstStyle/>
        <a:p>
          <a:endParaRPr lang="de-DE"/>
        </a:p>
      </dgm:t>
    </dgm:pt>
    <dgm:pt modelId="{4BEA03CF-7AED-4A65-8301-AA31C5C4A83F}" type="pres">
      <dgm:prSet presAssocID="{3F9D6342-B5A7-49AB-B511-C63B700C30AA}" presName="hierChild6" presStyleCnt="0"/>
      <dgm:spPr/>
    </dgm:pt>
    <dgm:pt modelId="{3C69FD51-03D6-4BAD-B353-9BA0AAAE04B3}" type="pres">
      <dgm:prSet presAssocID="{3F9D6342-B5A7-49AB-B511-C63B700C30AA}" presName="hierChild7" presStyleCnt="0"/>
      <dgm:spPr/>
    </dgm:pt>
    <dgm:pt modelId="{0811171E-0072-4DDD-91AF-52DB62BB0C6F}" type="pres">
      <dgm:prSet presAssocID="{797EDAE4-5DF6-412D-BBC0-A3226B1F0237}" presName="Name111" presStyleLbl="parChTrans1D3" presStyleIdx="9" presStyleCnt="10"/>
      <dgm:spPr/>
      <dgm:t>
        <a:bodyPr/>
        <a:lstStyle/>
        <a:p>
          <a:endParaRPr lang="de-DE"/>
        </a:p>
      </dgm:t>
    </dgm:pt>
    <dgm:pt modelId="{4793B1D3-7C4C-43F0-9DEF-A9232B270498}" type="pres">
      <dgm:prSet presAssocID="{1BA902D5-1094-41BE-906B-62298FB512A0}" presName="hierRoot3" presStyleCnt="0">
        <dgm:presLayoutVars>
          <dgm:hierBranch/>
        </dgm:presLayoutVars>
      </dgm:prSet>
      <dgm:spPr/>
    </dgm:pt>
    <dgm:pt modelId="{D86A20CE-28A2-47A5-8D16-3E9137AB897D}" type="pres">
      <dgm:prSet presAssocID="{1BA902D5-1094-41BE-906B-62298FB512A0}" presName="rootComposite3" presStyleCnt="0"/>
      <dgm:spPr/>
    </dgm:pt>
    <dgm:pt modelId="{78712D13-2FDD-4E0D-BE09-5C65082C9FF8}" type="pres">
      <dgm:prSet presAssocID="{1BA902D5-1094-41BE-906B-62298FB512A0}" presName="rootText3" presStyleLbl="asst2" presStyleIdx="4" presStyleCnt="5" custScaleX="226484" custScaleY="87671" custLinFactX="200000" custLinFactY="-200000" custLinFactNeighborX="215361" custLinFactNeighborY="-230112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EA017255-D4C2-4509-9DFB-E7A32B1B7506}" type="pres">
      <dgm:prSet presAssocID="{1BA902D5-1094-41BE-906B-62298FB512A0}" presName="rootConnector3" presStyleLbl="asst2" presStyleIdx="4" presStyleCnt="5"/>
      <dgm:spPr/>
      <dgm:t>
        <a:bodyPr/>
        <a:lstStyle/>
        <a:p>
          <a:endParaRPr lang="de-DE"/>
        </a:p>
      </dgm:t>
    </dgm:pt>
    <dgm:pt modelId="{158FB956-48D1-438F-B3B9-0FEBE8FC4153}" type="pres">
      <dgm:prSet presAssocID="{1BA902D5-1094-41BE-906B-62298FB512A0}" presName="hierChild6" presStyleCnt="0"/>
      <dgm:spPr/>
    </dgm:pt>
    <dgm:pt modelId="{1A8AE0DA-8E32-4325-A6A7-A33FFD7F1689}" type="pres">
      <dgm:prSet presAssocID="{1BA902D5-1094-41BE-906B-62298FB512A0}" presName="hierChild7" presStyleCnt="0"/>
      <dgm:spPr/>
    </dgm:pt>
    <dgm:pt modelId="{9EB22A7E-9A50-4928-8955-DBD925D82BF7}" type="pres">
      <dgm:prSet presAssocID="{E1E42948-A962-4296-ACD0-73911027A8C2}" presName="hierChild3" presStyleCnt="0"/>
      <dgm:spPr/>
    </dgm:pt>
  </dgm:ptLst>
  <dgm:cxnLst>
    <dgm:cxn modelId="{F88217D3-87D2-4842-8320-F760C3B09B04}" type="presOf" srcId="{354C242F-C8DB-4405-8945-6FD36470198A}" destId="{ADB0B6A4-65CD-46EA-8D80-D9E439A6D476}" srcOrd="1" destOrd="0" presId="urn:microsoft.com/office/officeart/2005/8/layout/orgChart1"/>
    <dgm:cxn modelId="{73A22CBD-88D7-4D1A-8A0E-94636A7242F9}" type="presOf" srcId="{D4F561AE-AE9B-4801-A294-6F70D893C01B}" destId="{6CE0EE06-402F-48FD-95E6-AEF5FF10BBD2}" srcOrd="0" destOrd="0" presId="urn:microsoft.com/office/officeart/2005/8/layout/orgChart1"/>
    <dgm:cxn modelId="{0074E214-FF58-4F01-BE18-56BBA568E289}" srcId="{D4F7164A-9FF1-4F65-82AC-B9F25046820D}" destId="{1BA902D5-1094-41BE-906B-62298FB512A0}" srcOrd="9" destOrd="0" parTransId="{797EDAE4-5DF6-412D-BBC0-A3226B1F0237}" sibTransId="{4DEB4247-A23E-44F7-A776-5A9F2A136BE7}"/>
    <dgm:cxn modelId="{ECC140EE-32CD-49A7-9F13-5A9B94C69D34}" type="presOf" srcId="{14F6A482-2839-4C98-BC96-66F729C679D4}" destId="{0D29A56B-5629-4450-B419-49CCA9251D34}" srcOrd="0" destOrd="0" presId="urn:microsoft.com/office/officeart/2005/8/layout/orgChart1"/>
    <dgm:cxn modelId="{5A1B154B-1F2A-4FAC-B22F-D964C4B8CDFD}" type="presOf" srcId="{59E21C72-2D75-4B59-825F-E4B705871538}" destId="{44089CB8-F10E-42BC-A824-8141447EA60E}" srcOrd="1" destOrd="0" presId="urn:microsoft.com/office/officeart/2005/8/layout/orgChart1"/>
    <dgm:cxn modelId="{B53735E3-DEAB-4B4B-83A6-38CB26842DE5}" srcId="{D4F7164A-9FF1-4F65-82AC-B9F25046820D}" destId="{14F6A482-2839-4C98-BC96-66F729C679D4}" srcOrd="6" destOrd="0" parTransId="{77F37610-51B6-4A72-961B-4AF50179C88B}" sibTransId="{D13E485F-B4DB-4AE5-A640-3C6D61666B9C}"/>
    <dgm:cxn modelId="{4C5B212D-3C03-4814-953F-25E6BC8A7655}" srcId="{D4F7164A-9FF1-4F65-82AC-B9F25046820D}" destId="{85861E5F-C30E-4A16-8BC6-C9614552F674}" srcOrd="2" destOrd="0" parTransId="{CA0406F1-12F9-4404-A7A5-712E89F79CB5}" sibTransId="{A8F1A468-280D-46A5-8CF4-CAF69197C5FA}"/>
    <dgm:cxn modelId="{E086023A-71C7-4574-9858-DA60E3F86CEA}" type="presOf" srcId="{F81E21DA-FD6E-4C6D-9C53-8BA0BD4A254D}" destId="{8F3C0838-EAD2-4337-808B-2DCD768D9FE9}" srcOrd="0" destOrd="0" presId="urn:microsoft.com/office/officeart/2005/8/layout/orgChart1"/>
    <dgm:cxn modelId="{F7BE5268-7B20-4113-96D9-8A548A23BAD0}" srcId="{59E21C72-2D75-4B59-825F-E4B705871538}" destId="{354C242F-C8DB-4405-8945-6FD36470198A}" srcOrd="0" destOrd="0" parTransId="{CD116555-1465-4323-9676-8264DF6ACBD0}" sibTransId="{C5EBA818-2221-460F-9098-D108DC8C9243}"/>
    <dgm:cxn modelId="{8B79BB55-E3BE-4250-851C-6E0B3679917A}" type="presOf" srcId="{354C242F-C8DB-4405-8945-6FD36470198A}" destId="{62FEDEBB-EA1B-4261-8C6A-66F124073364}" srcOrd="0" destOrd="0" presId="urn:microsoft.com/office/officeart/2005/8/layout/orgChart1"/>
    <dgm:cxn modelId="{556DE6BE-C83D-4063-A9EF-9F8DA95BA4F6}" srcId="{D4F7164A-9FF1-4F65-82AC-B9F25046820D}" destId="{59E21C72-2D75-4B59-825F-E4B705871538}" srcOrd="5" destOrd="0" parTransId="{57E2656F-B0F0-4934-B9F0-BEF0BDA7831B}" sibTransId="{ADDEB8D9-25FB-4FCB-9CA1-9FC0CCFA6558}"/>
    <dgm:cxn modelId="{4F19767E-C169-4A64-A689-08DF02095395}" type="presOf" srcId="{A45ECFBA-B25E-462E-B97C-B27B935B2E9A}" destId="{BD9014BC-34FD-4282-8A53-6A033548C5C5}" srcOrd="0" destOrd="0" presId="urn:microsoft.com/office/officeart/2005/8/layout/orgChart1"/>
    <dgm:cxn modelId="{EF707D41-B23C-4460-B760-E276109055CF}" type="presOf" srcId="{57EB8D8D-0B16-46FA-9CE7-8732E2B4A3E7}" destId="{4346862A-16D4-4BFD-BD18-C1B68F2901A7}" srcOrd="0" destOrd="0" presId="urn:microsoft.com/office/officeart/2005/8/layout/orgChart1"/>
    <dgm:cxn modelId="{9FD6EB17-45E5-4A31-8BDF-9E3D6A4B73CB}" type="presOf" srcId="{E9801196-6D03-48AB-B988-68FF40EDD9E3}" destId="{7C636518-A830-4675-B1FC-16D96E0BE54F}" srcOrd="0" destOrd="0" presId="urn:microsoft.com/office/officeart/2005/8/layout/orgChart1"/>
    <dgm:cxn modelId="{BA17F615-DD74-430F-A0DD-461A1F4C7F9A}" type="presOf" srcId="{14F6A482-2839-4C98-BC96-66F729C679D4}" destId="{D98CCA66-FFE3-4262-8195-E27F6EDDA1E0}" srcOrd="1" destOrd="0" presId="urn:microsoft.com/office/officeart/2005/8/layout/orgChart1"/>
    <dgm:cxn modelId="{E928E7FC-2D11-43CE-B660-5A4ADE719B01}" type="presOf" srcId="{1BA902D5-1094-41BE-906B-62298FB512A0}" destId="{EA017255-D4C2-4509-9DFB-E7A32B1B7506}" srcOrd="1" destOrd="0" presId="urn:microsoft.com/office/officeart/2005/8/layout/orgChart1"/>
    <dgm:cxn modelId="{16CBB304-00F9-4456-9766-11464AADF407}" type="presOf" srcId="{E9801196-6D03-48AB-B988-68FF40EDD9E3}" destId="{79AA34D1-285F-498D-AD9D-EB676762D840}" srcOrd="1" destOrd="0" presId="urn:microsoft.com/office/officeart/2005/8/layout/orgChart1"/>
    <dgm:cxn modelId="{0BFABD9D-20D8-48EC-823C-7ADAFBBC445D}" type="presOf" srcId="{D816F4A7-CC30-4C25-874D-5475F3B5FB08}" destId="{295B7631-8540-4F99-B9E3-4B496242F73C}" srcOrd="0" destOrd="0" presId="urn:microsoft.com/office/officeart/2005/8/layout/orgChart1"/>
    <dgm:cxn modelId="{E6E25E85-6869-4CC7-A192-56FEEB6F7D7C}" type="presOf" srcId="{38B4A03B-4935-404D-9DD8-F177CAAAFD76}" destId="{BBCD65AD-8146-4CAD-89DE-695BCD97AA98}" srcOrd="1" destOrd="0" presId="urn:microsoft.com/office/officeart/2005/8/layout/orgChart1"/>
    <dgm:cxn modelId="{0FDC5423-6107-4605-B763-809530CF20A6}" type="presOf" srcId="{483565DB-47EA-4227-86FC-092B66FAFB9E}" destId="{746DF9F1-8BE0-4810-AB46-D6252566B9BA}" srcOrd="1" destOrd="0" presId="urn:microsoft.com/office/officeart/2005/8/layout/orgChart1"/>
    <dgm:cxn modelId="{B76C4BB6-3BEE-4BCC-999A-4FC048FD8801}" type="presOf" srcId="{E1E42948-A962-4296-ACD0-73911027A8C2}" destId="{28A3E3D3-48F4-408C-9B3F-08699C1B7736}" srcOrd="1" destOrd="0" presId="urn:microsoft.com/office/officeart/2005/8/layout/orgChart1"/>
    <dgm:cxn modelId="{1F7C51E2-BBC9-4B8E-B1C0-6CF750EEF662}" srcId="{D4F7164A-9FF1-4F65-82AC-B9F25046820D}" destId="{3A40DFC6-CEB8-49A2-8A08-61F2AC6F453F}" srcOrd="4" destOrd="0" parTransId="{49936F48-8DD0-493E-85C9-D0AFBA68A87B}" sibTransId="{E5952D7E-7917-4B83-A4E3-0367D08CEC3E}"/>
    <dgm:cxn modelId="{343FD7C3-7157-4593-B2D3-9D486E6583FA}" type="presOf" srcId="{3F9D6342-B5A7-49AB-B511-C63B700C30AA}" destId="{81AD70D2-FA4A-4F67-AB41-4CAD174C56B9}" srcOrd="0" destOrd="0" presId="urn:microsoft.com/office/officeart/2005/8/layout/orgChart1"/>
    <dgm:cxn modelId="{945ADAD7-C660-4CBF-A7C7-8D7F7BEB8393}" type="presOf" srcId="{1BA902D5-1094-41BE-906B-62298FB512A0}" destId="{78712D13-2FDD-4E0D-BE09-5C65082C9FF8}" srcOrd="0" destOrd="0" presId="urn:microsoft.com/office/officeart/2005/8/layout/orgChart1"/>
    <dgm:cxn modelId="{4DA507B5-732C-4C50-BAA3-F41DDE56FD9A}" type="presOf" srcId="{B38FC32D-7CC4-43AF-9124-DCFA0F4DF293}" destId="{55AC39B6-E2E1-4A6D-8C5E-FBC75C7A6F00}" srcOrd="1" destOrd="0" presId="urn:microsoft.com/office/officeart/2005/8/layout/orgChart1"/>
    <dgm:cxn modelId="{552E3868-E628-43FC-BBC7-B1EC1460F567}" type="presOf" srcId="{E6C70B32-CBF9-49A0-AA12-9213BA3C6C7C}" destId="{0F44C2CA-A632-40E2-A8BD-1DF70D0A6920}" srcOrd="1" destOrd="0" presId="urn:microsoft.com/office/officeart/2005/8/layout/orgChart1"/>
    <dgm:cxn modelId="{E859286C-0841-4E4B-9699-AA9B4127FC30}" type="presOf" srcId="{85861E5F-C30E-4A16-8BC6-C9614552F674}" destId="{AC9CC239-211E-42DB-8F1F-2C1755762075}" srcOrd="1" destOrd="0" presId="urn:microsoft.com/office/officeart/2005/8/layout/orgChart1"/>
    <dgm:cxn modelId="{4DB4AFA8-5B27-4D67-9D18-C82F7F70F575}" type="presOf" srcId="{90718E9B-D169-4073-BD0E-5B41BA3032AD}" destId="{402D31B9-40D5-4C8B-9091-10F54BEF1A11}" srcOrd="0" destOrd="0" presId="urn:microsoft.com/office/officeart/2005/8/layout/orgChart1"/>
    <dgm:cxn modelId="{37F0C85A-A493-457E-8478-F8EF69C4B04C}" type="presOf" srcId="{38F2A94C-DA89-4D87-B65E-E804A4874A9B}" destId="{955B6202-4E04-4449-85D3-31113D7D0F18}" srcOrd="0" destOrd="0" presId="urn:microsoft.com/office/officeart/2005/8/layout/orgChart1"/>
    <dgm:cxn modelId="{E7DE839A-E681-4B3E-8EC3-87E51E2C2A4E}" type="presOf" srcId="{1901BCD9-3251-477B-88A0-9A8AED30AFE0}" destId="{AB49B10D-594D-4052-8BC6-C8D2C91852FA}" srcOrd="1" destOrd="0" presId="urn:microsoft.com/office/officeart/2005/8/layout/orgChart1"/>
    <dgm:cxn modelId="{976826CD-BD37-4F63-A6AC-3715ECC91908}" type="presOf" srcId="{D4F7164A-9FF1-4F65-82AC-B9F25046820D}" destId="{29C069AF-0F32-4313-A944-D801ABD5C11A}" srcOrd="0" destOrd="0" presId="urn:microsoft.com/office/officeart/2005/8/layout/orgChart1"/>
    <dgm:cxn modelId="{703D6124-541B-47E5-916E-E1DFA5FE86D4}" type="presOf" srcId="{D4F561AE-AE9B-4801-A294-6F70D893C01B}" destId="{51E91CBA-367A-45AA-894C-EA6728194538}" srcOrd="1" destOrd="0" presId="urn:microsoft.com/office/officeart/2005/8/layout/orgChart1"/>
    <dgm:cxn modelId="{2F4EB3CE-056D-4041-95CE-107B4F8C7015}" type="presOf" srcId="{0D276855-C69D-440E-BF19-9F7FB242F22C}" destId="{67C4F6B6-3394-41B7-8B0E-F80DFCBD19DB}" srcOrd="0" destOrd="0" presId="urn:microsoft.com/office/officeart/2005/8/layout/orgChart1"/>
    <dgm:cxn modelId="{08D23A2A-47A0-4A63-B62F-173B248D7210}" type="presOf" srcId="{797EDAE4-5DF6-412D-BBC0-A3226B1F0237}" destId="{0811171E-0072-4DDD-91AF-52DB62BB0C6F}" srcOrd="0" destOrd="0" presId="urn:microsoft.com/office/officeart/2005/8/layout/orgChart1"/>
    <dgm:cxn modelId="{5D853B19-2DEB-490F-87D4-A455C9209D7E}" srcId="{D4F7164A-9FF1-4F65-82AC-B9F25046820D}" destId="{3F9D6342-B5A7-49AB-B511-C63B700C30AA}" srcOrd="8" destOrd="0" parTransId="{D816F4A7-CC30-4C25-874D-5475F3B5FB08}" sibTransId="{F398ECED-480B-4B4C-B8EC-473FE9F5DF48}"/>
    <dgm:cxn modelId="{6062207F-51AE-491C-9C34-6145540B5528}" type="presOf" srcId="{59E21C72-2D75-4B59-825F-E4B705871538}" destId="{6FDEB2FC-CC9A-4BCC-AD31-91C660A6F016}" srcOrd="0" destOrd="0" presId="urn:microsoft.com/office/officeart/2005/8/layout/orgChart1"/>
    <dgm:cxn modelId="{78E5AB89-A312-4E73-B082-D7D773F6B76B}" type="presOf" srcId="{F81E21DA-FD6E-4C6D-9C53-8BA0BD4A254D}" destId="{8535457D-07BF-4A9D-A749-6851B2037068}" srcOrd="1" destOrd="0" presId="urn:microsoft.com/office/officeart/2005/8/layout/orgChart1"/>
    <dgm:cxn modelId="{63980FCF-D292-46D4-A0D9-2A61B56A19F0}" type="presOf" srcId="{3F9D6342-B5A7-49AB-B511-C63B700C30AA}" destId="{8BBF1B67-0D72-4175-B1D6-E4E812CE4849}" srcOrd="1" destOrd="0" presId="urn:microsoft.com/office/officeart/2005/8/layout/orgChart1"/>
    <dgm:cxn modelId="{D73ED3AE-2803-44C1-8816-9D39455A34BE}" type="presOf" srcId="{140717A6-7A7E-4078-ABC0-69623BEAC1F6}" destId="{8E216525-7A8C-45E4-9597-88ED3603AF3B}" srcOrd="0" destOrd="0" presId="urn:microsoft.com/office/officeart/2005/8/layout/orgChart1"/>
    <dgm:cxn modelId="{2705D2FC-2E19-42C9-89E8-36830FFCD392}" type="presOf" srcId="{38B4A03B-4935-404D-9DD8-F177CAAAFD76}" destId="{92BAD177-2A04-4C8C-91C0-487BFF6C2E5A}" srcOrd="0" destOrd="0" presId="urn:microsoft.com/office/officeart/2005/8/layout/orgChart1"/>
    <dgm:cxn modelId="{1AF50720-12BB-49B4-BA83-9FF36035E579}" type="presOf" srcId="{77F37610-51B6-4A72-961B-4AF50179C88B}" destId="{77B45CA3-1130-41F4-B279-5BE3728C53C0}" srcOrd="0" destOrd="0" presId="urn:microsoft.com/office/officeart/2005/8/layout/orgChart1"/>
    <dgm:cxn modelId="{F7ADEEC2-D671-4FB7-B3C2-6B8858D24C8F}" srcId="{85861E5F-C30E-4A16-8BC6-C9614552F674}" destId="{483565DB-47EA-4227-86FC-092B66FAFB9E}" srcOrd="0" destOrd="0" parTransId="{90718E9B-D169-4073-BD0E-5B41BA3032AD}" sibTransId="{8852DD38-8352-4D71-927F-EA520D3958FA}"/>
    <dgm:cxn modelId="{2C632E89-D284-4F2A-88E1-C53288A7EAE6}" type="presOf" srcId="{50E1B2F0-4A22-47E5-9098-288633BBC041}" destId="{9E4D289C-8366-4266-BE1C-FAD71A417349}" srcOrd="0" destOrd="0" presId="urn:microsoft.com/office/officeart/2005/8/layout/orgChart1"/>
    <dgm:cxn modelId="{7B21B6A8-89A8-4FA8-A0F3-5B52904A00AC}" srcId="{14F6A482-2839-4C98-BC96-66F729C679D4}" destId="{38B4A03B-4935-404D-9DD8-F177CAAAFD76}" srcOrd="0" destOrd="0" parTransId="{A45ECFBA-B25E-462E-B97C-B27B935B2E9A}" sibTransId="{74474A34-66B1-457B-AD1A-63A4FCCAB704}"/>
    <dgm:cxn modelId="{D1E8F576-F1F9-401E-9BC0-D08085AC9C7D}" type="presOf" srcId="{85861E5F-C30E-4A16-8BC6-C9614552F674}" destId="{2D0C3AD6-1409-4B25-B17F-28C412FD7280}" srcOrd="0" destOrd="0" presId="urn:microsoft.com/office/officeart/2005/8/layout/orgChart1"/>
    <dgm:cxn modelId="{5A4FB00A-969D-409B-955A-D13363495F0F}" type="presOf" srcId="{57E2656F-B0F0-4934-B9F0-BEF0BDA7831B}" destId="{57B71D01-2243-46FB-A062-2CACC7346822}" srcOrd="0" destOrd="0" presId="urn:microsoft.com/office/officeart/2005/8/layout/orgChart1"/>
    <dgm:cxn modelId="{1D34C27F-EBB7-4B47-B38D-0777235B8142}" type="presOf" srcId="{EC53749C-46C7-488D-AA63-655AFD2389C5}" destId="{3EC0F114-690B-48EE-B61F-D4A1BA42BE4E}" srcOrd="0" destOrd="0" presId="urn:microsoft.com/office/officeart/2005/8/layout/orgChart1"/>
    <dgm:cxn modelId="{917150C3-1B5C-48CA-B467-ED2DD6695730}" type="presOf" srcId="{453A13CE-3AA3-4C9F-B7F7-90265CCFDBB3}" destId="{AF6EDF22-D0EC-4339-A430-3597838F18C9}" srcOrd="0" destOrd="0" presId="urn:microsoft.com/office/officeart/2005/8/layout/orgChart1"/>
    <dgm:cxn modelId="{C1965978-1B38-4AD3-825D-77D8FB71BBF4}" srcId="{F81E21DA-FD6E-4C6D-9C53-8BA0BD4A254D}" destId="{1901BCD9-3251-477B-88A0-9A8AED30AFE0}" srcOrd="0" destOrd="0" parTransId="{140717A6-7A7E-4078-ABC0-69623BEAC1F6}" sibTransId="{56FA4343-5CE1-4CB3-8826-3E2F71A2DE3D}"/>
    <dgm:cxn modelId="{38640DC1-0BB3-4058-B08C-6E56D95194D2}" srcId="{E1E42948-A962-4296-ACD0-73911027A8C2}" destId="{D4F7164A-9FF1-4F65-82AC-B9F25046820D}" srcOrd="0" destOrd="0" parTransId="{0D276855-C69D-440E-BF19-9F7FB242F22C}" sibTransId="{962CBA58-A06F-419E-B46B-8102F954B567}"/>
    <dgm:cxn modelId="{4F2C79C2-591F-4E4F-A5A5-37CB3093AA0F}" type="presOf" srcId="{22222F70-B26E-4775-8A77-BAF70CD68F9D}" destId="{A1EDFBE0-B4F6-4B1D-96C6-DDB3CDC50B58}" srcOrd="0" destOrd="0" presId="urn:microsoft.com/office/officeart/2005/8/layout/orgChart1"/>
    <dgm:cxn modelId="{D1070E81-01C3-4A93-B695-3E5322EE896D}" type="presOf" srcId="{3A40DFC6-CEB8-49A2-8A08-61F2AC6F453F}" destId="{F066C3BA-3E53-4636-93F3-C2E31E911888}" srcOrd="1" destOrd="0" presId="urn:microsoft.com/office/officeart/2005/8/layout/orgChart1"/>
    <dgm:cxn modelId="{CC01E5C3-CC24-46C8-ACC4-32F5496226DA}" type="presOf" srcId="{E6C70B32-CBF9-49A0-AA12-9213BA3C6C7C}" destId="{4EF84C94-F6CA-484F-B52B-606432443C05}" srcOrd="0" destOrd="0" presId="urn:microsoft.com/office/officeart/2005/8/layout/orgChart1"/>
    <dgm:cxn modelId="{4AF22291-AB4A-4EA0-A54C-80875A7A046D}" srcId="{D4F7164A-9FF1-4F65-82AC-B9F25046820D}" destId="{E6C70B32-CBF9-49A0-AA12-9213BA3C6C7C}" srcOrd="1" destOrd="0" parTransId="{57EB8D8D-0B16-46FA-9CE7-8732E2B4A3E7}" sibTransId="{CE23C833-F71D-4BE5-89FC-FF0979A0B6C5}"/>
    <dgm:cxn modelId="{EBD21DF8-3920-4FAC-94AA-BB760C48F3FF}" srcId="{D4F7164A-9FF1-4F65-82AC-B9F25046820D}" destId="{B38FC32D-7CC4-43AF-9124-DCFA0F4DF293}" srcOrd="0" destOrd="0" parTransId="{453A13CE-3AA3-4C9F-B7F7-90265CCFDBB3}" sibTransId="{A9A79CB1-BD10-4FC9-B4A5-33466D736D5B}"/>
    <dgm:cxn modelId="{CEA687AB-65E9-4D5E-B521-211EE28FD4F3}" srcId="{D4F7164A-9FF1-4F65-82AC-B9F25046820D}" destId="{F81E21DA-FD6E-4C6D-9C53-8BA0BD4A254D}" srcOrd="3" destOrd="0" parTransId="{EC53749C-46C7-488D-AA63-655AFD2389C5}" sibTransId="{4805F6C9-A875-434F-980D-8970E6E2DD6B}"/>
    <dgm:cxn modelId="{10447344-7FFB-4F9D-859A-01D28EBC5D79}" type="presOf" srcId="{D4F7164A-9FF1-4F65-82AC-B9F25046820D}" destId="{58D4351F-B03C-4F5E-828A-08731C325D0C}" srcOrd="1" destOrd="0" presId="urn:microsoft.com/office/officeart/2005/8/layout/orgChart1"/>
    <dgm:cxn modelId="{91B8989D-4F9C-45A1-87FC-47A268FBC022}" type="presOf" srcId="{1901BCD9-3251-477B-88A0-9A8AED30AFE0}" destId="{4E90235C-3906-45B2-81E2-69236A8E39C0}" srcOrd="0" destOrd="0" presId="urn:microsoft.com/office/officeart/2005/8/layout/orgChart1"/>
    <dgm:cxn modelId="{8533EBB2-D030-4B45-A7C8-8FD3C8BBBC16}" type="presOf" srcId="{B38FC32D-7CC4-43AF-9124-DCFA0F4DF293}" destId="{4430D1F1-4169-4541-9E38-94BB66275897}" srcOrd="0" destOrd="0" presId="urn:microsoft.com/office/officeart/2005/8/layout/orgChart1"/>
    <dgm:cxn modelId="{78282317-6EA9-4AE9-A1C9-7565E088EDC2}" srcId="{3A40DFC6-CEB8-49A2-8A08-61F2AC6F453F}" destId="{D4F561AE-AE9B-4801-A294-6F70D893C01B}" srcOrd="0" destOrd="0" parTransId="{22222F70-B26E-4775-8A77-BAF70CD68F9D}" sibTransId="{5B2428FB-3654-4150-9FB1-AB741903D74D}"/>
    <dgm:cxn modelId="{E1A825A2-E360-4DA6-9ADE-BFA645613D98}" type="presOf" srcId="{CD116555-1465-4323-9676-8264DF6ACBD0}" destId="{C134ECE4-5EDD-42B3-B754-63C8EBACB2F0}" srcOrd="0" destOrd="0" presId="urn:microsoft.com/office/officeart/2005/8/layout/orgChart1"/>
    <dgm:cxn modelId="{8969EEED-26F6-4C19-BE6A-6C5967777068}" type="presOf" srcId="{49936F48-8DD0-493E-85C9-D0AFBA68A87B}" destId="{001B9108-3DA0-4F08-BEA9-00AD4F1FFE1B}" srcOrd="0" destOrd="0" presId="urn:microsoft.com/office/officeart/2005/8/layout/orgChart1"/>
    <dgm:cxn modelId="{BC197169-1577-49C9-8D0F-B44B07F41FDE}" type="presOf" srcId="{CA0406F1-12F9-4404-A7A5-712E89F79CB5}" destId="{39ECFB7D-FDA4-487D-9339-86F469AB46BD}" srcOrd="0" destOrd="0" presId="urn:microsoft.com/office/officeart/2005/8/layout/orgChart1"/>
    <dgm:cxn modelId="{EA8AB205-FC08-4971-9D91-F230199C7426}" type="presOf" srcId="{E1E42948-A962-4296-ACD0-73911027A8C2}" destId="{6901B29F-5C4C-441E-8C99-96265A226EF6}" srcOrd="0" destOrd="0" presId="urn:microsoft.com/office/officeart/2005/8/layout/orgChart1"/>
    <dgm:cxn modelId="{1D579AC6-D812-4AF5-BAD6-EF9AC696B174}" type="presOf" srcId="{483565DB-47EA-4227-86FC-092B66FAFB9E}" destId="{8F0A2041-DAA7-44C4-B980-8E6EDF3F57E5}" srcOrd="0" destOrd="0" presId="urn:microsoft.com/office/officeart/2005/8/layout/orgChart1"/>
    <dgm:cxn modelId="{1C5B5F3A-B043-4162-A527-6DECFCE25578}" srcId="{50E1B2F0-4A22-47E5-9098-288633BBC041}" destId="{E1E42948-A962-4296-ACD0-73911027A8C2}" srcOrd="0" destOrd="0" parTransId="{8E342320-0A62-4761-86C2-526B290D7E07}" sibTransId="{62EDD7DD-32EA-4B5D-9F73-BB163890D821}"/>
    <dgm:cxn modelId="{38B173EC-E3B9-44AD-8094-8C3AAAE6FE22}" type="presOf" srcId="{3A40DFC6-CEB8-49A2-8A08-61F2AC6F453F}" destId="{B0AB5278-3EC8-4898-9375-770F4AA7E79E}" srcOrd="0" destOrd="0" presId="urn:microsoft.com/office/officeart/2005/8/layout/orgChart1"/>
    <dgm:cxn modelId="{B62938A1-CF7C-4AE9-9BC9-854DD3A775F7}" srcId="{D4F7164A-9FF1-4F65-82AC-B9F25046820D}" destId="{E9801196-6D03-48AB-B988-68FF40EDD9E3}" srcOrd="7" destOrd="0" parTransId="{38F2A94C-DA89-4D87-B65E-E804A4874A9B}" sibTransId="{90A59A97-2839-4CCD-AABD-2F2AB6C7F1FE}"/>
    <dgm:cxn modelId="{827CE3B9-AB51-4817-A494-E3BF4C8BE02E}" type="presParOf" srcId="{9E4D289C-8366-4266-BE1C-FAD71A417349}" destId="{11225A69-476A-48D5-8BD3-B796A30A35FB}" srcOrd="0" destOrd="0" presId="urn:microsoft.com/office/officeart/2005/8/layout/orgChart1"/>
    <dgm:cxn modelId="{12F9168E-6E6F-4339-AD00-0758170BCE84}" type="presParOf" srcId="{11225A69-476A-48D5-8BD3-B796A30A35FB}" destId="{B9A3CB7B-DCD5-4BBB-822A-2F73016375B0}" srcOrd="0" destOrd="0" presId="urn:microsoft.com/office/officeart/2005/8/layout/orgChart1"/>
    <dgm:cxn modelId="{F865A81E-F9CE-47EE-87D4-8DEB15B2E968}" type="presParOf" srcId="{B9A3CB7B-DCD5-4BBB-822A-2F73016375B0}" destId="{6901B29F-5C4C-441E-8C99-96265A226EF6}" srcOrd="0" destOrd="0" presId="urn:microsoft.com/office/officeart/2005/8/layout/orgChart1"/>
    <dgm:cxn modelId="{9F80B715-10A7-41C4-A026-FDF7ABEB1FDB}" type="presParOf" srcId="{B9A3CB7B-DCD5-4BBB-822A-2F73016375B0}" destId="{28A3E3D3-48F4-408C-9B3F-08699C1B7736}" srcOrd="1" destOrd="0" presId="urn:microsoft.com/office/officeart/2005/8/layout/orgChart1"/>
    <dgm:cxn modelId="{80F7A2D2-766D-4761-9BF6-FBC37D57E03F}" type="presParOf" srcId="{11225A69-476A-48D5-8BD3-B796A30A35FB}" destId="{25C5EB76-18ED-4F96-A046-5666D3B983EE}" srcOrd="1" destOrd="0" presId="urn:microsoft.com/office/officeart/2005/8/layout/orgChart1"/>
    <dgm:cxn modelId="{14DB5C22-39A9-48F9-846F-CE6019A9D1D4}" type="presParOf" srcId="{25C5EB76-18ED-4F96-A046-5666D3B983EE}" destId="{67C4F6B6-3394-41B7-8B0E-F80DFCBD19DB}" srcOrd="0" destOrd="0" presId="urn:microsoft.com/office/officeart/2005/8/layout/orgChart1"/>
    <dgm:cxn modelId="{40E1CFE3-93E2-4B9D-B3CC-9A945686921F}" type="presParOf" srcId="{25C5EB76-18ED-4F96-A046-5666D3B983EE}" destId="{53562A46-3A6F-48C1-8B86-0666ECC1CCC6}" srcOrd="1" destOrd="0" presId="urn:microsoft.com/office/officeart/2005/8/layout/orgChart1"/>
    <dgm:cxn modelId="{8A4FAA65-6BF9-4A35-B327-311086B8E301}" type="presParOf" srcId="{53562A46-3A6F-48C1-8B86-0666ECC1CCC6}" destId="{22F3B5E6-8312-479D-8469-8FF17BF963BE}" srcOrd="0" destOrd="0" presId="urn:microsoft.com/office/officeart/2005/8/layout/orgChart1"/>
    <dgm:cxn modelId="{6B83BA6F-F557-47BD-922B-213971B66D36}" type="presParOf" srcId="{22F3B5E6-8312-479D-8469-8FF17BF963BE}" destId="{29C069AF-0F32-4313-A944-D801ABD5C11A}" srcOrd="0" destOrd="0" presId="urn:microsoft.com/office/officeart/2005/8/layout/orgChart1"/>
    <dgm:cxn modelId="{EEE68A8C-BD2C-48DC-959E-5496335B3B33}" type="presParOf" srcId="{22F3B5E6-8312-479D-8469-8FF17BF963BE}" destId="{58D4351F-B03C-4F5E-828A-08731C325D0C}" srcOrd="1" destOrd="0" presId="urn:microsoft.com/office/officeart/2005/8/layout/orgChart1"/>
    <dgm:cxn modelId="{C9B8C590-BE82-4E62-902A-DE3B314B539B}" type="presParOf" srcId="{53562A46-3A6F-48C1-8B86-0666ECC1CCC6}" destId="{7C9B22A8-D66C-4D09-9002-4CF5399A51BE}" srcOrd="1" destOrd="0" presId="urn:microsoft.com/office/officeart/2005/8/layout/orgChart1"/>
    <dgm:cxn modelId="{EBF30AAA-C8DB-460E-8B84-ECE8DAA95CF7}" type="presParOf" srcId="{7C9B22A8-D66C-4D09-9002-4CF5399A51BE}" destId="{39ECFB7D-FDA4-487D-9339-86F469AB46BD}" srcOrd="0" destOrd="0" presId="urn:microsoft.com/office/officeart/2005/8/layout/orgChart1"/>
    <dgm:cxn modelId="{80AF1CCF-5FDE-43AE-A161-C421EBC3ED93}" type="presParOf" srcId="{7C9B22A8-D66C-4D09-9002-4CF5399A51BE}" destId="{3BC80181-6316-4023-BF9B-80DB25C6C86E}" srcOrd="1" destOrd="0" presId="urn:microsoft.com/office/officeart/2005/8/layout/orgChart1"/>
    <dgm:cxn modelId="{727C8896-0A6E-4E0C-B190-096EF27576D5}" type="presParOf" srcId="{3BC80181-6316-4023-BF9B-80DB25C6C86E}" destId="{C340E83D-F201-45AF-87A0-892636D0C457}" srcOrd="0" destOrd="0" presId="urn:microsoft.com/office/officeart/2005/8/layout/orgChart1"/>
    <dgm:cxn modelId="{7274FDC9-F715-479B-BC1F-872F14D13074}" type="presParOf" srcId="{C340E83D-F201-45AF-87A0-892636D0C457}" destId="{2D0C3AD6-1409-4B25-B17F-28C412FD7280}" srcOrd="0" destOrd="0" presId="urn:microsoft.com/office/officeart/2005/8/layout/orgChart1"/>
    <dgm:cxn modelId="{74FD4C18-2D19-4850-872D-8EA636F6EDB4}" type="presParOf" srcId="{C340E83D-F201-45AF-87A0-892636D0C457}" destId="{AC9CC239-211E-42DB-8F1F-2C1755762075}" srcOrd="1" destOrd="0" presId="urn:microsoft.com/office/officeart/2005/8/layout/orgChart1"/>
    <dgm:cxn modelId="{35F11232-2A7D-44BA-9DF5-77569A2C09F7}" type="presParOf" srcId="{3BC80181-6316-4023-BF9B-80DB25C6C86E}" destId="{9AB59971-12EE-4E48-A5A0-6E18FCC94156}" srcOrd="1" destOrd="0" presId="urn:microsoft.com/office/officeart/2005/8/layout/orgChart1"/>
    <dgm:cxn modelId="{2EDA51B1-8DBF-47B8-83D3-9CF1B6FE5820}" type="presParOf" srcId="{9AB59971-12EE-4E48-A5A0-6E18FCC94156}" destId="{402D31B9-40D5-4C8B-9091-10F54BEF1A11}" srcOrd="0" destOrd="0" presId="urn:microsoft.com/office/officeart/2005/8/layout/orgChart1"/>
    <dgm:cxn modelId="{C1F43C6F-0023-48F5-B300-810E9922C604}" type="presParOf" srcId="{9AB59971-12EE-4E48-A5A0-6E18FCC94156}" destId="{373E12B9-9816-42CE-9614-7A2093AE4D23}" srcOrd="1" destOrd="0" presId="urn:microsoft.com/office/officeart/2005/8/layout/orgChart1"/>
    <dgm:cxn modelId="{42D1480D-2131-4C68-B7EA-FB4FFCA36CDA}" type="presParOf" srcId="{373E12B9-9816-42CE-9614-7A2093AE4D23}" destId="{993775C7-8F15-472D-98CE-E06F7734FCC6}" srcOrd="0" destOrd="0" presId="urn:microsoft.com/office/officeart/2005/8/layout/orgChart1"/>
    <dgm:cxn modelId="{1803EB06-7FA3-4F8D-B179-791E0485A8EE}" type="presParOf" srcId="{993775C7-8F15-472D-98CE-E06F7734FCC6}" destId="{8F0A2041-DAA7-44C4-B980-8E6EDF3F57E5}" srcOrd="0" destOrd="0" presId="urn:microsoft.com/office/officeart/2005/8/layout/orgChart1"/>
    <dgm:cxn modelId="{9C679BED-AECD-446D-A899-D5B8294FD12E}" type="presParOf" srcId="{993775C7-8F15-472D-98CE-E06F7734FCC6}" destId="{746DF9F1-8BE0-4810-AB46-D6252566B9BA}" srcOrd="1" destOrd="0" presId="urn:microsoft.com/office/officeart/2005/8/layout/orgChart1"/>
    <dgm:cxn modelId="{49235AEF-3E9F-4036-9AFA-EC9B6F3A6018}" type="presParOf" srcId="{373E12B9-9816-42CE-9614-7A2093AE4D23}" destId="{130498E2-5A68-438E-B1D1-E004588D8AC2}" srcOrd="1" destOrd="0" presId="urn:microsoft.com/office/officeart/2005/8/layout/orgChart1"/>
    <dgm:cxn modelId="{20EF41BF-498D-4370-A5F5-F36D8837A142}" type="presParOf" srcId="{373E12B9-9816-42CE-9614-7A2093AE4D23}" destId="{E82E3051-F5EA-49AF-A6F0-8E09ECD133EE}" srcOrd="2" destOrd="0" presId="urn:microsoft.com/office/officeart/2005/8/layout/orgChart1"/>
    <dgm:cxn modelId="{EA806B43-1C8E-41E6-A383-68C2CAEB09DB}" type="presParOf" srcId="{3BC80181-6316-4023-BF9B-80DB25C6C86E}" destId="{9989F863-589F-467C-AA26-A65D3589B1C3}" srcOrd="2" destOrd="0" presId="urn:microsoft.com/office/officeart/2005/8/layout/orgChart1"/>
    <dgm:cxn modelId="{B81E8FD3-1451-4D7B-82E1-E61661196120}" type="presParOf" srcId="{7C9B22A8-D66C-4D09-9002-4CF5399A51BE}" destId="{3EC0F114-690B-48EE-B61F-D4A1BA42BE4E}" srcOrd="2" destOrd="0" presId="urn:microsoft.com/office/officeart/2005/8/layout/orgChart1"/>
    <dgm:cxn modelId="{1282279D-FF46-47C5-91DF-29728261C84A}" type="presParOf" srcId="{7C9B22A8-D66C-4D09-9002-4CF5399A51BE}" destId="{9C016EDB-41DD-4855-A05D-8686EE584106}" srcOrd="3" destOrd="0" presId="urn:microsoft.com/office/officeart/2005/8/layout/orgChart1"/>
    <dgm:cxn modelId="{92D0DD6F-D8F1-4101-94B2-274B7E3174A1}" type="presParOf" srcId="{9C016EDB-41DD-4855-A05D-8686EE584106}" destId="{A361F840-2748-4F41-B775-3CA7F853F3B1}" srcOrd="0" destOrd="0" presId="urn:microsoft.com/office/officeart/2005/8/layout/orgChart1"/>
    <dgm:cxn modelId="{358EA4D8-E527-4985-9901-F223D28E463A}" type="presParOf" srcId="{A361F840-2748-4F41-B775-3CA7F853F3B1}" destId="{8F3C0838-EAD2-4337-808B-2DCD768D9FE9}" srcOrd="0" destOrd="0" presId="urn:microsoft.com/office/officeart/2005/8/layout/orgChart1"/>
    <dgm:cxn modelId="{B3D977A9-1E3B-4B76-BA90-E83FA7E885B5}" type="presParOf" srcId="{A361F840-2748-4F41-B775-3CA7F853F3B1}" destId="{8535457D-07BF-4A9D-A749-6851B2037068}" srcOrd="1" destOrd="0" presId="urn:microsoft.com/office/officeart/2005/8/layout/orgChart1"/>
    <dgm:cxn modelId="{9596D997-AA95-4814-B138-852AF02D11BA}" type="presParOf" srcId="{9C016EDB-41DD-4855-A05D-8686EE584106}" destId="{8BDB22CA-2BE7-4027-BC54-5A0B1125D0E7}" srcOrd="1" destOrd="0" presId="urn:microsoft.com/office/officeart/2005/8/layout/orgChart1"/>
    <dgm:cxn modelId="{46E24EE4-E0F4-4BFA-BD01-94B2D5A2FFDE}" type="presParOf" srcId="{8BDB22CA-2BE7-4027-BC54-5A0B1125D0E7}" destId="{8E216525-7A8C-45E4-9597-88ED3603AF3B}" srcOrd="0" destOrd="0" presId="urn:microsoft.com/office/officeart/2005/8/layout/orgChart1"/>
    <dgm:cxn modelId="{1252E536-0779-43A1-A502-C7B89B7BC53E}" type="presParOf" srcId="{8BDB22CA-2BE7-4027-BC54-5A0B1125D0E7}" destId="{342FBF40-80B0-4819-A1ED-4376283C8234}" srcOrd="1" destOrd="0" presId="urn:microsoft.com/office/officeart/2005/8/layout/orgChart1"/>
    <dgm:cxn modelId="{F67B692A-0672-46CB-8603-48771F529035}" type="presParOf" srcId="{342FBF40-80B0-4819-A1ED-4376283C8234}" destId="{FBF339D6-EB9D-4C48-89B2-880FCE99C42D}" srcOrd="0" destOrd="0" presId="urn:microsoft.com/office/officeart/2005/8/layout/orgChart1"/>
    <dgm:cxn modelId="{A1F07F47-C8C9-493D-975A-1226C7B144BA}" type="presParOf" srcId="{FBF339D6-EB9D-4C48-89B2-880FCE99C42D}" destId="{4E90235C-3906-45B2-81E2-69236A8E39C0}" srcOrd="0" destOrd="0" presId="urn:microsoft.com/office/officeart/2005/8/layout/orgChart1"/>
    <dgm:cxn modelId="{916B43DF-2644-41CE-B686-E676B5B4C5E2}" type="presParOf" srcId="{FBF339D6-EB9D-4C48-89B2-880FCE99C42D}" destId="{AB49B10D-594D-4052-8BC6-C8D2C91852FA}" srcOrd="1" destOrd="0" presId="urn:microsoft.com/office/officeart/2005/8/layout/orgChart1"/>
    <dgm:cxn modelId="{82E270E0-F502-46D3-8DFB-7BF78B094B40}" type="presParOf" srcId="{342FBF40-80B0-4819-A1ED-4376283C8234}" destId="{C47144E3-2474-4C46-8261-95C282584C17}" srcOrd="1" destOrd="0" presId="urn:microsoft.com/office/officeart/2005/8/layout/orgChart1"/>
    <dgm:cxn modelId="{572FE519-AA70-4F87-8357-0BA31B183467}" type="presParOf" srcId="{342FBF40-80B0-4819-A1ED-4376283C8234}" destId="{841EE1D2-49B5-4935-9FBC-6A909FD7410E}" srcOrd="2" destOrd="0" presId="urn:microsoft.com/office/officeart/2005/8/layout/orgChart1"/>
    <dgm:cxn modelId="{55963FC0-3280-43E9-8A94-005E5135D4DB}" type="presParOf" srcId="{9C016EDB-41DD-4855-A05D-8686EE584106}" destId="{BFCF6F70-5D33-47A9-8A03-55E4175F7A09}" srcOrd="2" destOrd="0" presId="urn:microsoft.com/office/officeart/2005/8/layout/orgChart1"/>
    <dgm:cxn modelId="{D24FA849-EC46-4C7A-B1D6-29ACC3338E97}" type="presParOf" srcId="{7C9B22A8-D66C-4D09-9002-4CF5399A51BE}" destId="{001B9108-3DA0-4F08-BEA9-00AD4F1FFE1B}" srcOrd="4" destOrd="0" presId="urn:microsoft.com/office/officeart/2005/8/layout/orgChart1"/>
    <dgm:cxn modelId="{68B635B9-3284-4BC2-AC19-89A29CA5DB06}" type="presParOf" srcId="{7C9B22A8-D66C-4D09-9002-4CF5399A51BE}" destId="{756DEC35-F376-4D3F-9BFB-4C00E78BFFD9}" srcOrd="5" destOrd="0" presId="urn:microsoft.com/office/officeart/2005/8/layout/orgChart1"/>
    <dgm:cxn modelId="{C8A4B736-6844-4FA4-A284-15B92C018FB5}" type="presParOf" srcId="{756DEC35-F376-4D3F-9BFB-4C00E78BFFD9}" destId="{66A5BC1E-83EA-476C-B8D9-3B9C8E4C5E39}" srcOrd="0" destOrd="0" presId="urn:microsoft.com/office/officeart/2005/8/layout/orgChart1"/>
    <dgm:cxn modelId="{85E93754-A111-4971-9B97-439674E4B20E}" type="presParOf" srcId="{66A5BC1E-83EA-476C-B8D9-3B9C8E4C5E39}" destId="{B0AB5278-3EC8-4898-9375-770F4AA7E79E}" srcOrd="0" destOrd="0" presId="urn:microsoft.com/office/officeart/2005/8/layout/orgChart1"/>
    <dgm:cxn modelId="{374EE2E5-4B94-4D65-A135-4673791444E8}" type="presParOf" srcId="{66A5BC1E-83EA-476C-B8D9-3B9C8E4C5E39}" destId="{F066C3BA-3E53-4636-93F3-C2E31E911888}" srcOrd="1" destOrd="0" presId="urn:microsoft.com/office/officeart/2005/8/layout/orgChart1"/>
    <dgm:cxn modelId="{98DBE22F-9B4F-4C7A-9AB0-13BB1B8BE861}" type="presParOf" srcId="{756DEC35-F376-4D3F-9BFB-4C00E78BFFD9}" destId="{FAE1AEAE-6B47-437A-8A58-FDD62088520D}" srcOrd="1" destOrd="0" presId="urn:microsoft.com/office/officeart/2005/8/layout/orgChart1"/>
    <dgm:cxn modelId="{196314AB-C4CC-42E0-83D3-8E58427EDA58}" type="presParOf" srcId="{FAE1AEAE-6B47-437A-8A58-FDD62088520D}" destId="{A1EDFBE0-B4F6-4B1D-96C6-DDB3CDC50B58}" srcOrd="0" destOrd="0" presId="urn:microsoft.com/office/officeart/2005/8/layout/orgChart1"/>
    <dgm:cxn modelId="{C0306CED-6226-4DF5-9D1E-EF6825CE3549}" type="presParOf" srcId="{FAE1AEAE-6B47-437A-8A58-FDD62088520D}" destId="{207F234E-9649-43E6-B22B-455D9C9EB197}" srcOrd="1" destOrd="0" presId="urn:microsoft.com/office/officeart/2005/8/layout/orgChart1"/>
    <dgm:cxn modelId="{EA1FB400-683D-46CB-B18E-87DE873FE93F}" type="presParOf" srcId="{207F234E-9649-43E6-B22B-455D9C9EB197}" destId="{08D8DA2C-94C5-41B8-BDD0-BC7AEDE2D1C7}" srcOrd="0" destOrd="0" presId="urn:microsoft.com/office/officeart/2005/8/layout/orgChart1"/>
    <dgm:cxn modelId="{EDCB732F-B274-4B89-AA2D-38516AF17FD8}" type="presParOf" srcId="{08D8DA2C-94C5-41B8-BDD0-BC7AEDE2D1C7}" destId="{6CE0EE06-402F-48FD-95E6-AEF5FF10BBD2}" srcOrd="0" destOrd="0" presId="urn:microsoft.com/office/officeart/2005/8/layout/orgChart1"/>
    <dgm:cxn modelId="{5D14836C-4486-4D81-9DC5-E36F853F86E6}" type="presParOf" srcId="{08D8DA2C-94C5-41B8-BDD0-BC7AEDE2D1C7}" destId="{51E91CBA-367A-45AA-894C-EA6728194538}" srcOrd="1" destOrd="0" presId="urn:microsoft.com/office/officeart/2005/8/layout/orgChart1"/>
    <dgm:cxn modelId="{1FEC1634-C71D-42F4-BA2E-47573944FA38}" type="presParOf" srcId="{207F234E-9649-43E6-B22B-455D9C9EB197}" destId="{0D472ACA-41B7-4ACB-81E0-FBE53C775C03}" srcOrd="1" destOrd="0" presId="urn:microsoft.com/office/officeart/2005/8/layout/orgChart1"/>
    <dgm:cxn modelId="{3A020ABF-9656-4041-B42F-0D3D6784960C}" type="presParOf" srcId="{207F234E-9649-43E6-B22B-455D9C9EB197}" destId="{F3EB94B1-21F0-4A91-AD34-9349A87FA299}" srcOrd="2" destOrd="0" presId="urn:microsoft.com/office/officeart/2005/8/layout/orgChart1"/>
    <dgm:cxn modelId="{06D9DCC8-124F-4BD2-A10F-88619CF77825}" type="presParOf" srcId="{756DEC35-F376-4D3F-9BFB-4C00E78BFFD9}" destId="{5073A536-24FF-4E87-9FF7-80A9908A31CE}" srcOrd="2" destOrd="0" presId="urn:microsoft.com/office/officeart/2005/8/layout/orgChart1"/>
    <dgm:cxn modelId="{098A2BF1-F77F-4DFA-93E5-813469689617}" type="presParOf" srcId="{7C9B22A8-D66C-4D09-9002-4CF5399A51BE}" destId="{57B71D01-2243-46FB-A062-2CACC7346822}" srcOrd="6" destOrd="0" presId="urn:microsoft.com/office/officeart/2005/8/layout/orgChart1"/>
    <dgm:cxn modelId="{288EF5B3-FEC1-4C6F-A2E3-579782DB2267}" type="presParOf" srcId="{7C9B22A8-D66C-4D09-9002-4CF5399A51BE}" destId="{1A943425-DEB7-4D17-BEFC-912CC8F22A2A}" srcOrd="7" destOrd="0" presId="urn:microsoft.com/office/officeart/2005/8/layout/orgChart1"/>
    <dgm:cxn modelId="{C3F4B65E-ED12-4FF5-95C0-04061BF3052A}" type="presParOf" srcId="{1A943425-DEB7-4D17-BEFC-912CC8F22A2A}" destId="{98CF9D1B-7EC3-4EB2-BCCB-C9D8A5F52164}" srcOrd="0" destOrd="0" presId="urn:microsoft.com/office/officeart/2005/8/layout/orgChart1"/>
    <dgm:cxn modelId="{188A53C2-37F0-49FA-AD08-4AE95815B0CA}" type="presParOf" srcId="{98CF9D1B-7EC3-4EB2-BCCB-C9D8A5F52164}" destId="{6FDEB2FC-CC9A-4BCC-AD31-91C660A6F016}" srcOrd="0" destOrd="0" presId="urn:microsoft.com/office/officeart/2005/8/layout/orgChart1"/>
    <dgm:cxn modelId="{AB078EF0-7D93-48E1-BB42-822ADFBA82E5}" type="presParOf" srcId="{98CF9D1B-7EC3-4EB2-BCCB-C9D8A5F52164}" destId="{44089CB8-F10E-42BC-A824-8141447EA60E}" srcOrd="1" destOrd="0" presId="urn:microsoft.com/office/officeart/2005/8/layout/orgChart1"/>
    <dgm:cxn modelId="{F2C3C16C-977A-4C92-9981-8F542B3D5725}" type="presParOf" srcId="{1A943425-DEB7-4D17-BEFC-912CC8F22A2A}" destId="{27DFD8EC-3052-4733-8C2A-A0010205F551}" srcOrd="1" destOrd="0" presId="urn:microsoft.com/office/officeart/2005/8/layout/orgChart1"/>
    <dgm:cxn modelId="{BD16F2EF-5E74-45BC-8D6A-5F3A3E267672}" type="presParOf" srcId="{27DFD8EC-3052-4733-8C2A-A0010205F551}" destId="{C134ECE4-5EDD-42B3-B754-63C8EBACB2F0}" srcOrd="0" destOrd="0" presId="urn:microsoft.com/office/officeart/2005/8/layout/orgChart1"/>
    <dgm:cxn modelId="{60A8286D-1D47-4667-91F0-91E0A55B796B}" type="presParOf" srcId="{27DFD8EC-3052-4733-8C2A-A0010205F551}" destId="{F2435737-577F-4389-BAFF-FCBFB5084FE6}" srcOrd="1" destOrd="0" presId="urn:microsoft.com/office/officeart/2005/8/layout/orgChart1"/>
    <dgm:cxn modelId="{A16A9F96-962A-477F-A7BC-D2372669A6F5}" type="presParOf" srcId="{F2435737-577F-4389-BAFF-FCBFB5084FE6}" destId="{E95AB739-02EA-47F6-A837-11380DE902EC}" srcOrd="0" destOrd="0" presId="urn:microsoft.com/office/officeart/2005/8/layout/orgChart1"/>
    <dgm:cxn modelId="{8817364F-C839-47D1-8F8D-87499DDBB553}" type="presParOf" srcId="{E95AB739-02EA-47F6-A837-11380DE902EC}" destId="{62FEDEBB-EA1B-4261-8C6A-66F124073364}" srcOrd="0" destOrd="0" presId="urn:microsoft.com/office/officeart/2005/8/layout/orgChart1"/>
    <dgm:cxn modelId="{A69982AD-2A7B-4D7C-B6E4-AE6D52555244}" type="presParOf" srcId="{E95AB739-02EA-47F6-A837-11380DE902EC}" destId="{ADB0B6A4-65CD-46EA-8D80-D9E439A6D476}" srcOrd="1" destOrd="0" presId="urn:microsoft.com/office/officeart/2005/8/layout/orgChart1"/>
    <dgm:cxn modelId="{5ED92517-B648-4BEF-813C-2C59450A599C}" type="presParOf" srcId="{F2435737-577F-4389-BAFF-FCBFB5084FE6}" destId="{0968D4E1-3897-43BE-9929-77E174154337}" srcOrd="1" destOrd="0" presId="urn:microsoft.com/office/officeart/2005/8/layout/orgChart1"/>
    <dgm:cxn modelId="{EBF23122-ECFC-4903-A2C8-7BACFA0D7A5A}" type="presParOf" srcId="{F2435737-577F-4389-BAFF-FCBFB5084FE6}" destId="{43A1CA24-8172-42E7-A0C3-D44F6E7FDBC3}" srcOrd="2" destOrd="0" presId="urn:microsoft.com/office/officeart/2005/8/layout/orgChart1"/>
    <dgm:cxn modelId="{D2839E4C-793C-4704-9173-75F0EB1A4347}" type="presParOf" srcId="{1A943425-DEB7-4D17-BEFC-912CC8F22A2A}" destId="{B3EBE91E-E82B-4319-996E-CCB67A95EFF4}" srcOrd="2" destOrd="0" presId="urn:microsoft.com/office/officeart/2005/8/layout/orgChart1"/>
    <dgm:cxn modelId="{0CC4B369-5626-465F-AC10-89A2D9D65D9F}" type="presParOf" srcId="{7C9B22A8-D66C-4D09-9002-4CF5399A51BE}" destId="{77B45CA3-1130-41F4-B279-5BE3728C53C0}" srcOrd="8" destOrd="0" presId="urn:microsoft.com/office/officeart/2005/8/layout/orgChart1"/>
    <dgm:cxn modelId="{913F4D0F-DF75-454A-AA5D-7983800AB7B2}" type="presParOf" srcId="{7C9B22A8-D66C-4D09-9002-4CF5399A51BE}" destId="{49385746-3D56-4B3D-876F-D031025C2277}" srcOrd="9" destOrd="0" presId="urn:microsoft.com/office/officeart/2005/8/layout/orgChart1"/>
    <dgm:cxn modelId="{7BBB24A9-18C4-48E9-A313-8E8D95ED0F7B}" type="presParOf" srcId="{49385746-3D56-4B3D-876F-D031025C2277}" destId="{702A42FB-CF42-4D78-8C23-63D91BA2AE82}" srcOrd="0" destOrd="0" presId="urn:microsoft.com/office/officeart/2005/8/layout/orgChart1"/>
    <dgm:cxn modelId="{3057358E-9A4F-48D2-A42D-63BE7D96123C}" type="presParOf" srcId="{702A42FB-CF42-4D78-8C23-63D91BA2AE82}" destId="{0D29A56B-5629-4450-B419-49CCA9251D34}" srcOrd="0" destOrd="0" presId="urn:microsoft.com/office/officeart/2005/8/layout/orgChart1"/>
    <dgm:cxn modelId="{2C578AA1-FD73-4BC6-8BF1-34BD8FB0909D}" type="presParOf" srcId="{702A42FB-CF42-4D78-8C23-63D91BA2AE82}" destId="{D98CCA66-FFE3-4262-8195-E27F6EDDA1E0}" srcOrd="1" destOrd="0" presId="urn:microsoft.com/office/officeart/2005/8/layout/orgChart1"/>
    <dgm:cxn modelId="{E80F8FAD-DA4C-42C0-9097-30FA31F565F9}" type="presParOf" srcId="{49385746-3D56-4B3D-876F-D031025C2277}" destId="{B23F1F0E-75BB-4F8D-BCE4-91E02A6E2280}" srcOrd="1" destOrd="0" presId="urn:microsoft.com/office/officeart/2005/8/layout/orgChart1"/>
    <dgm:cxn modelId="{4868BEA6-B823-4B2F-AF58-3AE503AD708F}" type="presParOf" srcId="{B23F1F0E-75BB-4F8D-BCE4-91E02A6E2280}" destId="{BD9014BC-34FD-4282-8A53-6A033548C5C5}" srcOrd="0" destOrd="0" presId="urn:microsoft.com/office/officeart/2005/8/layout/orgChart1"/>
    <dgm:cxn modelId="{F320C718-635E-4A89-A54F-DBFB879ADDFD}" type="presParOf" srcId="{B23F1F0E-75BB-4F8D-BCE4-91E02A6E2280}" destId="{E9D87A42-1D36-433A-94BD-A0E2B0CAD1A5}" srcOrd="1" destOrd="0" presId="urn:microsoft.com/office/officeart/2005/8/layout/orgChart1"/>
    <dgm:cxn modelId="{47CBAFD5-8C64-4351-B932-04400F036C79}" type="presParOf" srcId="{E9D87A42-1D36-433A-94BD-A0E2B0CAD1A5}" destId="{D72B4B47-6694-4752-AAA8-EA6F492D04FC}" srcOrd="0" destOrd="0" presId="urn:microsoft.com/office/officeart/2005/8/layout/orgChart1"/>
    <dgm:cxn modelId="{A2AFA640-FDFA-402A-8ACA-270BC7A58DFB}" type="presParOf" srcId="{D72B4B47-6694-4752-AAA8-EA6F492D04FC}" destId="{92BAD177-2A04-4C8C-91C0-487BFF6C2E5A}" srcOrd="0" destOrd="0" presId="urn:microsoft.com/office/officeart/2005/8/layout/orgChart1"/>
    <dgm:cxn modelId="{6EB64C31-BF5B-40CC-982F-29DB1006FB00}" type="presParOf" srcId="{D72B4B47-6694-4752-AAA8-EA6F492D04FC}" destId="{BBCD65AD-8146-4CAD-89DE-695BCD97AA98}" srcOrd="1" destOrd="0" presId="urn:microsoft.com/office/officeart/2005/8/layout/orgChart1"/>
    <dgm:cxn modelId="{4623B747-326D-4950-9642-F912121BED55}" type="presParOf" srcId="{E9D87A42-1D36-433A-94BD-A0E2B0CAD1A5}" destId="{EF1A68D1-0A65-4599-B45B-13A833E55FA6}" srcOrd="1" destOrd="0" presId="urn:microsoft.com/office/officeart/2005/8/layout/orgChart1"/>
    <dgm:cxn modelId="{43837535-D944-47D1-8756-F4859BEA4F9D}" type="presParOf" srcId="{E9D87A42-1D36-433A-94BD-A0E2B0CAD1A5}" destId="{1207F2E4-44E0-4433-8CE4-D67C25D2F5F7}" srcOrd="2" destOrd="0" presId="urn:microsoft.com/office/officeart/2005/8/layout/orgChart1"/>
    <dgm:cxn modelId="{7C79FB21-318A-42CA-B9D1-BF36ACDD1E5A}" type="presParOf" srcId="{49385746-3D56-4B3D-876F-D031025C2277}" destId="{389FCC66-EFFF-4B92-8DFC-36D8F197B032}" srcOrd="2" destOrd="0" presId="urn:microsoft.com/office/officeart/2005/8/layout/orgChart1"/>
    <dgm:cxn modelId="{1945DFAC-6508-478A-90E5-BB359C680910}" type="presParOf" srcId="{53562A46-3A6F-48C1-8B86-0666ECC1CCC6}" destId="{A8179C13-68A2-4C8A-BD7B-33B3EA030D02}" srcOrd="2" destOrd="0" presId="urn:microsoft.com/office/officeart/2005/8/layout/orgChart1"/>
    <dgm:cxn modelId="{866B59FA-A413-4489-B13F-158A4357A06F}" type="presParOf" srcId="{A8179C13-68A2-4C8A-BD7B-33B3EA030D02}" destId="{AF6EDF22-D0EC-4339-A430-3597838F18C9}" srcOrd="0" destOrd="0" presId="urn:microsoft.com/office/officeart/2005/8/layout/orgChart1"/>
    <dgm:cxn modelId="{A4FE1096-3A6D-4507-A71F-18FFCFA18747}" type="presParOf" srcId="{A8179C13-68A2-4C8A-BD7B-33B3EA030D02}" destId="{FEE5B9B6-1E4A-4A02-8DBE-0C0AFE17D6E5}" srcOrd="1" destOrd="0" presId="urn:microsoft.com/office/officeart/2005/8/layout/orgChart1"/>
    <dgm:cxn modelId="{76A3DD2A-B1DC-45DD-8FD5-445DACBB20A3}" type="presParOf" srcId="{FEE5B9B6-1E4A-4A02-8DBE-0C0AFE17D6E5}" destId="{6B5E8D30-B02C-4B26-836B-3ED231EDA972}" srcOrd="0" destOrd="0" presId="urn:microsoft.com/office/officeart/2005/8/layout/orgChart1"/>
    <dgm:cxn modelId="{08FA0DB1-8BD8-4071-8DF3-EEB1223191E8}" type="presParOf" srcId="{6B5E8D30-B02C-4B26-836B-3ED231EDA972}" destId="{4430D1F1-4169-4541-9E38-94BB66275897}" srcOrd="0" destOrd="0" presId="urn:microsoft.com/office/officeart/2005/8/layout/orgChart1"/>
    <dgm:cxn modelId="{83B74A74-BF2E-48FA-A299-A3577F86BA27}" type="presParOf" srcId="{6B5E8D30-B02C-4B26-836B-3ED231EDA972}" destId="{55AC39B6-E2E1-4A6D-8C5E-FBC75C7A6F00}" srcOrd="1" destOrd="0" presId="urn:microsoft.com/office/officeart/2005/8/layout/orgChart1"/>
    <dgm:cxn modelId="{8D3713E0-FB0F-4C45-8BBE-A3993EEEF9BB}" type="presParOf" srcId="{FEE5B9B6-1E4A-4A02-8DBE-0C0AFE17D6E5}" destId="{70D5D2D4-2E99-4C6B-811E-7D4E805AA104}" srcOrd="1" destOrd="0" presId="urn:microsoft.com/office/officeart/2005/8/layout/orgChart1"/>
    <dgm:cxn modelId="{38606B38-A597-4ABB-8562-87D082057D50}" type="presParOf" srcId="{FEE5B9B6-1E4A-4A02-8DBE-0C0AFE17D6E5}" destId="{CB2316CC-217C-4ACB-8075-106343AD20E2}" srcOrd="2" destOrd="0" presId="urn:microsoft.com/office/officeart/2005/8/layout/orgChart1"/>
    <dgm:cxn modelId="{FE330449-8A96-4B95-AD94-0505D88BB5A6}" type="presParOf" srcId="{A8179C13-68A2-4C8A-BD7B-33B3EA030D02}" destId="{4346862A-16D4-4BFD-BD18-C1B68F2901A7}" srcOrd="2" destOrd="0" presId="urn:microsoft.com/office/officeart/2005/8/layout/orgChart1"/>
    <dgm:cxn modelId="{C14ED576-5AD9-4E99-B888-7B7C87FA111A}" type="presParOf" srcId="{A8179C13-68A2-4C8A-BD7B-33B3EA030D02}" destId="{DDC2A43C-032E-42AA-ADFB-4B101FF63BD5}" srcOrd="3" destOrd="0" presId="urn:microsoft.com/office/officeart/2005/8/layout/orgChart1"/>
    <dgm:cxn modelId="{4730F7E2-B411-4C34-B32F-774808AEE006}" type="presParOf" srcId="{DDC2A43C-032E-42AA-ADFB-4B101FF63BD5}" destId="{B7F742A2-2D62-4B2B-AE1D-701244D0D64D}" srcOrd="0" destOrd="0" presId="urn:microsoft.com/office/officeart/2005/8/layout/orgChart1"/>
    <dgm:cxn modelId="{1EF4FBBE-D75C-4346-9676-C244ED734DCA}" type="presParOf" srcId="{B7F742A2-2D62-4B2B-AE1D-701244D0D64D}" destId="{4EF84C94-F6CA-484F-B52B-606432443C05}" srcOrd="0" destOrd="0" presId="urn:microsoft.com/office/officeart/2005/8/layout/orgChart1"/>
    <dgm:cxn modelId="{E5B3815D-1060-46DB-B8F5-1B99BC6DA81A}" type="presParOf" srcId="{B7F742A2-2D62-4B2B-AE1D-701244D0D64D}" destId="{0F44C2CA-A632-40E2-A8BD-1DF70D0A6920}" srcOrd="1" destOrd="0" presId="urn:microsoft.com/office/officeart/2005/8/layout/orgChart1"/>
    <dgm:cxn modelId="{E8576690-00B9-4C66-A870-BFA33868C9B0}" type="presParOf" srcId="{DDC2A43C-032E-42AA-ADFB-4B101FF63BD5}" destId="{59207D52-A38B-464D-BBD6-D4EB5A52E3C6}" srcOrd="1" destOrd="0" presId="urn:microsoft.com/office/officeart/2005/8/layout/orgChart1"/>
    <dgm:cxn modelId="{8BF028A2-E84B-4D80-A832-29F645068F72}" type="presParOf" srcId="{DDC2A43C-032E-42AA-ADFB-4B101FF63BD5}" destId="{985D0A05-797F-4CB9-BA05-B99D0F2D0B29}" srcOrd="2" destOrd="0" presId="urn:microsoft.com/office/officeart/2005/8/layout/orgChart1"/>
    <dgm:cxn modelId="{E4C1533C-91C3-4DB7-B630-36EEC89DEB97}" type="presParOf" srcId="{A8179C13-68A2-4C8A-BD7B-33B3EA030D02}" destId="{955B6202-4E04-4449-85D3-31113D7D0F18}" srcOrd="4" destOrd="0" presId="urn:microsoft.com/office/officeart/2005/8/layout/orgChart1"/>
    <dgm:cxn modelId="{515D5483-4441-4B7C-919B-DCCC821D5F91}" type="presParOf" srcId="{A8179C13-68A2-4C8A-BD7B-33B3EA030D02}" destId="{A2737802-CC0A-45B9-B0D7-FAB7BFC7E077}" srcOrd="5" destOrd="0" presId="urn:microsoft.com/office/officeart/2005/8/layout/orgChart1"/>
    <dgm:cxn modelId="{AE87DF1E-165A-418D-9C89-F7A213C62AA1}" type="presParOf" srcId="{A2737802-CC0A-45B9-B0D7-FAB7BFC7E077}" destId="{F766E87D-9A61-4FF7-B1D7-A4F51FB72A5F}" srcOrd="0" destOrd="0" presId="urn:microsoft.com/office/officeart/2005/8/layout/orgChart1"/>
    <dgm:cxn modelId="{6BE97831-DDE2-46CF-9011-1C308C628B5C}" type="presParOf" srcId="{F766E87D-9A61-4FF7-B1D7-A4F51FB72A5F}" destId="{7C636518-A830-4675-B1FC-16D96E0BE54F}" srcOrd="0" destOrd="0" presId="urn:microsoft.com/office/officeart/2005/8/layout/orgChart1"/>
    <dgm:cxn modelId="{8400AC2C-E061-4D1B-A22C-0E7795B4EAD5}" type="presParOf" srcId="{F766E87D-9A61-4FF7-B1D7-A4F51FB72A5F}" destId="{79AA34D1-285F-498D-AD9D-EB676762D840}" srcOrd="1" destOrd="0" presId="urn:microsoft.com/office/officeart/2005/8/layout/orgChart1"/>
    <dgm:cxn modelId="{7F77895E-D303-43FF-94F3-B6D0F74DE7D4}" type="presParOf" srcId="{A2737802-CC0A-45B9-B0D7-FAB7BFC7E077}" destId="{90C8AAA7-44BD-42C9-A4D7-A30DF430017B}" srcOrd="1" destOrd="0" presId="urn:microsoft.com/office/officeart/2005/8/layout/orgChart1"/>
    <dgm:cxn modelId="{29C255FD-E9A4-4747-B4C8-335EFE2D40E3}" type="presParOf" srcId="{A2737802-CC0A-45B9-B0D7-FAB7BFC7E077}" destId="{DD3347DC-1906-421D-AB49-5519C757CBDA}" srcOrd="2" destOrd="0" presId="urn:microsoft.com/office/officeart/2005/8/layout/orgChart1"/>
    <dgm:cxn modelId="{1830CCB0-FDEA-480C-8DC2-8FC500E56896}" type="presParOf" srcId="{A8179C13-68A2-4C8A-BD7B-33B3EA030D02}" destId="{295B7631-8540-4F99-B9E3-4B496242F73C}" srcOrd="6" destOrd="0" presId="urn:microsoft.com/office/officeart/2005/8/layout/orgChart1"/>
    <dgm:cxn modelId="{071F00AA-0B80-4F33-B62F-FE06774F5D59}" type="presParOf" srcId="{A8179C13-68A2-4C8A-BD7B-33B3EA030D02}" destId="{2935A04B-B269-41A5-B13F-2C13D642B8B5}" srcOrd="7" destOrd="0" presId="urn:microsoft.com/office/officeart/2005/8/layout/orgChart1"/>
    <dgm:cxn modelId="{4B7CE81E-6E10-4738-9E4E-D51EC5D66BA3}" type="presParOf" srcId="{2935A04B-B269-41A5-B13F-2C13D642B8B5}" destId="{0D7DD1BF-9AFE-40E5-A84B-95A9CE23B3B5}" srcOrd="0" destOrd="0" presId="urn:microsoft.com/office/officeart/2005/8/layout/orgChart1"/>
    <dgm:cxn modelId="{F114E8EF-325E-4EF5-861E-C4F1EE659C60}" type="presParOf" srcId="{0D7DD1BF-9AFE-40E5-A84B-95A9CE23B3B5}" destId="{81AD70D2-FA4A-4F67-AB41-4CAD174C56B9}" srcOrd="0" destOrd="0" presId="urn:microsoft.com/office/officeart/2005/8/layout/orgChart1"/>
    <dgm:cxn modelId="{61E75A3A-A7BB-47FC-97C7-6C4876EE5998}" type="presParOf" srcId="{0D7DD1BF-9AFE-40E5-A84B-95A9CE23B3B5}" destId="{8BBF1B67-0D72-4175-B1D6-E4E812CE4849}" srcOrd="1" destOrd="0" presId="urn:microsoft.com/office/officeart/2005/8/layout/orgChart1"/>
    <dgm:cxn modelId="{9E3AE65C-FC40-475C-BFC4-72865E2C4714}" type="presParOf" srcId="{2935A04B-B269-41A5-B13F-2C13D642B8B5}" destId="{4BEA03CF-7AED-4A65-8301-AA31C5C4A83F}" srcOrd="1" destOrd="0" presId="urn:microsoft.com/office/officeart/2005/8/layout/orgChart1"/>
    <dgm:cxn modelId="{8A16E6E4-D8BD-4714-814A-BB6BEA6DE90C}" type="presParOf" srcId="{2935A04B-B269-41A5-B13F-2C13D642B8B5}" destId="{3C69FD51-03D6-4BAD-B353-9BA0AAAE04B3}" srcOrd="2" destOrd="0" presId="urn:microsoft.com/office/officeart/2005/8/layout/orgChart1"/>
    <dgm:cxn modelId="{24627C32-0E83-406E-88AC-FDD5D5E87D5E}" type="presParOf" srcId="{A8179C13-68A2-4C8A-BD7B-33B3EA030D02}" destId="{0811171E-0072-4DDD-91AF-52DB62BB0C6F}" srcOrd="8" destOrd="0" presId="urn:microsoft.com/office/officeart/2005/8/layout/orgChart1"/>
    <dgm:cxn modelId="{0F46643E-11D4-423C-9B04-23993CE71E17}" type="presParOf" srcId="{A8179C13-68A2-4C8A-BD7B-33B3EA030D02}" destId="{4793B1D3-7C4C-43F0-9DEF-A9232B270498}" srcOrd="9" destOrd="0" presId="urn:microsoft.com/office/officeart/2005/8/layout/orgChart1"/>
    <dgm:cxn modelId="{F588F4B8-080A-4CC1-90F8-B389DD1DB087}" type="presParOf" srcId="{4793B1D3-7C4C-43F0-9DEF-A9232B270498}" destId="{D86A20CE-28A2-47A5-8D16-3E9137AB897D}" srcOrd="0" destOrd="0" presId="urn:microsoft.com/office/officeart/2005/8/layout/orgChart1"/>
    <dgm:cxn modelId="{034DBF60-2CDB-4565-A276-25D09B049962}" type="presParOf" srcId="{D86A20CE-28A2-47A5-8D16-3E9137AB897D}" destId="{78712D13-2FDD-4E0D-BE09-5C65082C9FF8}" srcOrd="0" destOrd="0" presId="urn:microsoft.com/office/officeart/2005/8/layout/orgChart1"/>
    <dgm:cxn modelId="{DD56164E-59C8-4D98-BE3A-0994605EF6EE}" type="presParOf" srcId="{D86A20CE-28A2-47A5-8D16-3E9137AB897D}" destId="{EA017255-D4C2-4509-9DFB-E7A32B1B7506}" srcOrd="1" destOrd="0" presId="urn:microsoft.com/office/officeart/2005/8/layout/orgChart1"/>
    <dgm:cxn modelId="{EE160B46-CAB5-4EA8-9947-3EB72F8987A0}" type="presParOf" srcId="{4793B1D3-7C4C-43F0-9DEF-A9232B270498}" destId="{158FB956-48D1-438F-B3B9-0FEBE8FC4153}" srcOrd="1" destOrd="0" presId="urn:microsoft.com/office/officeart/2005/8/layout/orgChart1"/>
    <dgm:cxn modelId="{E19660BF-5F1C-4676-8EF6-D5821DCF5351}" type="presParOf" srcId="{4793B1D3-7C4C-43F0-9DEF-A9232B270498}" destId="{1A8AE0DA-8E32-4325-A6A7-A33FFD7F1689}" srcOrd="2" destOrd="0" presId="urn:microsoft.com/office/officeart/2005/8/layout/orgChart1"/>
    <dgm:cxn modelId="{C672506E-5AC4-4F24-A5A3-E6798445D29B}" type="presParOf" srcId="{11225A69-476A-48D5-8BD3-B796A30A35FB}" destId="{9EB22A7E-9A50-4928-8955-DBD925D82BF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8466CD-36E0-4FBC-9295-4CC48F2C5C84}">
      <dsp:nvSpPr>
        <dsp:cNvPr id="0" name=""/>
        <dsp:cNvSpPr/>
      </dsp:nvSpPr>
      <dsp:spPr>
        <a:xfrm>
          <a:off x="3721209" y="1624459"/>
          <a:ext cx="762019" cy="9799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79967"/>
              </a:lnTo>
              <a:lnTo>
                <a:pt x="762019" y="9799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6EDF22-D0EC-4339-A430-3597838F18C9}">
      <dsp:nvSpPr>
        <dsp:cNvPr id="0" name=""/>
        <dsp:cNvSpPr/>
      </dsp:nvSpPr>
      <dsp:spPr>
        <a:xfrm>
          <a:off x="2980426" y="1624459"/>
          <a:ext cx="740782" cy="979967"/>
        </a:xfrm>
        <a:custGeom>
          <a:avLst/>
          <a:gdLst/>
          <a:ahLst/>
          <a:cxnLst/>
          <a:rect l="0" t="0" r="0" b="0"/>
          <a:pathLst>
            <a:path>
              <a:moveTo>
                <a:pt x="740782" y="0"/>
              </a:moveTo>
              <a:lnTo>
                <a:pt x="740782" y="979967"/>
              </a:lnTo>
              <a:lnTo>
                <a:pt x="0" y="9799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E7CF85-A509-4B6A-8FF6-06F2A602A405}">
      <dsp:nvSpPr>
        <dsp:cNvPr id="0" name=""/>
        <dsp:cNvSpPr/>
      </dsp:nvSpPr>
      <dsp:spPr>
        <a:xfrm>
          <a:off x="3721209" y="1624459"/>
          <a:ext cx="1976066" cy="2037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04788"/>
              </a:lnTo>
              <a:lnTo>
                <a:pt x="1976066" y="1804788"/>
              </a:lnTo>
              <a:lnTo>
                <a:pt x="1976066" y="20373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81E2E3-F6CB-4685-ABCF-7ADA78045F5E}">
      <dsp:nvSpPr>
        <dsp:cNvPr id="0" name=""/>
        <dsp:cNvSpPr/>
      </dsp:nvSpPr>
      <dsp:spPr>
        <a:xfrm>
          <a:off x="1745142" y="1624459"/>
          <a:ext cx="1976066" cy="2037307"/>
        </a:xfrm>
        <a:custGeom>
          <a:avLst/>
          <a:gdLst/>
          <a:ahLst/>
          <a:cxnLst/>
          <a:rect l="0" t="0" r="0" b="0"/>
          <a:pathLst>
            <a:path>
              <a:moveTo>
                <a:pt x="1976066" y="0"/>
              </a:moveTo>
              <a:lnTo>
                <a:pt x="1976066" y="1804788"/>
              </a:lnTo>
              <a:lnTo>
                <a:pt x="0" y="1804788"/>
              </a:lnTo>
              <a:lnTo>
                <a:pt x="0" y="20373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5EE670-97EA-4DCC-9583-25EE404A7C57}">
      <dsp:nvSpPr>
        <dsp:cNvPr id="0" name=""/>
        <dsp:cNvSpPr/>
      </dsp:nvSpPr>
      <dsp:spPr>
        <a:xfrm>
          <a:off x="1904030" y="517227"/>
          <a:ext cx="3634357" cy="1107232"/>
        </a:xfrm>
        <a:prstGeom prst="rect">
          <a:avLst/>
        </a:prstGeom>
        <a:solidFill>
          <a:srgbClr val="2D32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Committente e gestione</a:t>
          </a: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100" kern="12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Andreas Meyer </a:t>
          </a: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100" kern="12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Toni </a:t>
          </a:r>
          <a:r>
            <a:rPr lang="it-IT" sz="1100" kern="1200" dirty="0" err="1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Häne</a:t>
          </a:r>
          <a:endParaRPr lang="it-IT" sz="1100" kern="1200" dirty="0">
            <a:solidFill>
              <a:schemeClr val="bg1"/>
            </a:solidFill>
            <a:latin typeface="SBB Light"/>
            <a:ea typeface="SBB Light"/>
            <a:cs typeface="SBB Light"/>
            <a:sym typeface="SBB Light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100" kern="12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Jacques </a:t>
          </a:r>
          <a:r>
            <a:rPr lang="it-IT" sz="1100" kern="1200" dirty="0" err="1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Boschung</a:t>
          </a:r>
          <a:r>
            <a:rPr lang="it-IT" sz="1100" kern="1200" dirty="0">
              <a:solidFill>
                <a:schemeClr val="bg1"/>
              </a:solidFill>
              <a:latin typeface="SBB Light"/>
              <a:ea typeface="SBB Light"/>
              <a:cs typeface="SBB Light"/>
              <a:sym typeface="SBB Light"/>
            </a:rPr>
            <a:t> (per la parte Gruppo FFS)</a:t>
          </a:r>
          <a:endParaRPr lang="de-CH" sz="1100" kern="1200" dirty="0">
            <a:latin typeface="SBB Light" pitchFamily="2" charset="0"/>
          </a:endParaRPr>
        </a:p>
      </dsp:txBody>
      <dsp:txXfrm>
        <a:off x="1904030" y="517227"/>
        <a:ext cx="3634357" cy="1107232"/>
      </dsp:txXfrm>
    </dsp:sp>
    <dsp:sp modelId="{7112C8EE-C921-488E-8174-B5D24B6C4FC3}">
      <dsp:nvSpPr>
        <dsp:cNvPr id="0" name=""/>
        <dsp:cNvSpPr/>
      </dsp:nvSpPr>
      <dsp:spPr>
        <a:xfrm>
          <a:off x="1594" y="3661767"/>
          <a:ext cx="3487095" cy="659268"/>
        </a:xfrm>
        <a:prstGeom prst="rect">
          <a:avLst/>
        </a:prstGeom>
        <a:solidFill>
          <a:srgbClr val="2D32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it-IT" sz="1100" b="1" kern="12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zione del programma Sicuro! P-O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it-IT" sz="1100" kern="12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Thomas Brandt (P-O)</a:t>
          </a:r>
          <a:endParaRPr lang="de-CH" sz="1100" b="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1594" y="3661767"/>
        <a:ext cx="3487095" cy="659268"/>
      </dsp:txXfrm>
    </dsp:sp>
    <dsp:sp modelId="{D92C46C5-1699-4B3F-A6CA-7B22AD49F444}">
      <dsp:nvSpPr>
        <dsp:cNvPr id="0" name=""/>
        <dsp:cNvSpPr/>
      </dsp:nvSpPr>
      <dsp:spPr>
        <a:xfrm>
          <a:off x="3953728" y="3661767"/>
          <a:ext cx="3487095" cy="659268"/>
        </a:xfrm>
        <a:prstGeom prst="rect">
          <a:avLst/>
        </a:prstGeom>
        <a:solidFill>
          <a:srgbClr val="2D32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it-IT" sz="1100" b="1" kern="12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zione del programma Sicuro! Gruppo FFS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it-IT" sz="1100" kern="12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Patrick Hadorn (K-SQ) </a:t>
          </a:r>
          <a:endParaRPr lang="de-CH" sz="1100" b="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3953728" y="3661767"/>
        <a:ext cx="3487095" cy="659268"/>
      </dsp:txXfrm>
    </dsp:sp>
    <dsp:sp modelId="{4430D1F1-4169-4541-9E38-94BB66275897}">
      <dsp:nvSpPr>
        <dsp:cNvPr id="0" name=""/>
        <dsp:cNvSpPr/>
      </dsp:nvSpPr>
      <dsp:spPr>
        <a:xfrm>
          <a:off x="563094" y="2274792"/>
          <a:ext cx="2417332" cy="659268"/>
        </a:xfrm>
        <a:prstGeom prst="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b="1" kern="1200" cap="none">
              <a:latin typeface="SBB Light"/>
              <a:ea typeface="SBB Light"/>
              <a:cs typeface="SBB Light"/>
              <a:sym typeface="SBB Light"/>
            </a:rPr>
            <a:t>Colloqui al vertice con le parti sociali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b="0" kern="1200" cap="none">
              <a:latin typeface="SBB Light"/>
              <a:ea typeface="SBB Light"/>
              <a:cs typeface="SBB Light"/>
              <a:sym typeface="SBB Light"/>
            </a:rPr>
            <a:t>Seraina Lang (P-HR-FU)</a:t>
          </a:r>
        </a:p>
      </dsp:txBody>
      <dsp:txXfrm>
        <a:off x="563094" y="2274792"/>
        <a:ext cx="2417332" cy="659268"/>
      </dsp:txXfrm>
    </dsp:sp>
    <dsp:sp modelId="{2315E9A1-CFAA-450A-882F-CE658D5789B8}">
      <dsp:nvSpPr>
        <dsp:cNvPr id="0" name=""/>
        <dsp:cNvSpPr/>
      </dsp:nvSpPr>
      <dsp:spPr>
        <a:xfrm>
          <a:off x="4483229" y="2274792"/>
          <a:ext cx="2417332" cy="659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000" b="1" kern="120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Revisione interna</a:t>
          </a:r>
        </a:p>
        <a:p>
          <a:pPr marL="0"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000" kern="1200">
              <a:latin typeface="SBB Light"/>
              <a:ea typeface="SBB Light"/>
              <a:cs typeface="SBB Light"/>
              <a:sym typeface="SBB Light"/>
            </a:rPr>
            <a:t>Stefan Raimann (REV)</a:t>
          </a:r>
        </a:p>
      </dsp:txBody>
      <dsp:txXfrm>
        <a:off x="4483229" y="2274792"/>
        <a:ext cx="2417332" cy="6592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5B7631-8540-4F99-B9E3-4B496242F73C}">
      <dsp:nvSpPr>
        <dsp:cNvPr id="0" name=""/>
        <dsp:cNvSpPr/>
      </dsp:nvSpPr>
      <dsp:spPr>
        <a:xfrm>
          <a:off x="4457873" y="1602677"/>
          <a:ext cx="1060871" cy="9122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12232"/>
              </a:lnTo>
              <a:lnTo>
                <a:pt x="1060871" y="91223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5B6202-4E04-4449-85D3-31113D7D0F18}">
      <dsp:nvSpPr>
        <dsp:cNvPr id="0" name=""/>
        <dsp:cNvSpPr/>
      </dsp:nvSpPr>
      <dsp:spPr>
        <a:xfrm>
          <a:off x="3471673" y="1602677"/>
          <a:ext cx="986200" cy="912235"/>
        </a:xfrm>
        <a:custGeom>
          <a:avLst/>
          <a:gdLst/>
          <a:ahLst/>
          <a:cxnLst/>
          <a:rect l="0" t="0" r="0" b="0"/>
          <a:pathLst>
            <a:path>
              <a:moveTo>
                <a:pt x="986200" y="0"/>
              </a:moveTo>
              <a:lnTo>
                <a:pt x="986200" y="912235"/>
              </a:lnTo>
              <a:lnTo>
                <a:pt x="0" y="91223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46862A-16D4-4BFD-BD18-C1B68F2901A7}">
      <dsp:nvSpPr>
        <dsp:cNvPr id="0" name=""/>
        <dsp:cNvSpPr/>
      </dsp:nvSpPr>
      <dsp:spPr>
        <a:xfrm>
          <a:off x="4457873" y="1602677"/>
          <a:ext cx="340257" cy="4494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49473"/>
              </a:lnTo>
              <a:lnTo>
                <a:pt x="340257" y="44947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6EDF22-D0EC-4339-A430-3597838F18C9}">
      <dsp:nvSpPr>
        <dsp:cNvPr id="0" name=""/>
        <dsp:cNvSpPr/>
      </dsp:nvSpPr>
      <dsp:spPr>
        <a:xfrm>
          <a:off x="4173869" y="1602677"/>
          <a:ext cx="284004" cy="451767"/>
        </a:xfrm>
        <a:custGeom>
          <a:avLst/>
          <a:gdLst/>
          <a:ahLst/>
          <a:cxnLst/>
          <a:rect l="0" t="0" r="0" b="0"/>
          <a:pathLst>
            <a:path>
              <a:moveTo>
                <a:pt x="284004" y="0"/>
              </a:moveTo>
              <a:lnTo>
                <a:pt x="284004" y="451767"/>
              </a:lnTo>
              <a:lnTo>
                <a:pt x="0" y="45176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A18A95-1314-4F06-8DDC-B488626E5254}">
      <dsp:nvSpPr>
        <dsp:cNvPr id="0" name=""/>
        <dsp:cNvSpPr/>
      </dsp:nvSpPr>
      <dsp:spPr>
        <a:xfrm>
          <a:off x="8303753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6FA727-DDE5-4AA5-9564-3F20DBC911B7}">
      <dsp:nvSpPr>
        <dsp:cNvPr id="0" name=""/>
        <dsp:cNvSpPr/>
      </dsp:nvSpPr>
      <dsp:spPr>
        <a:xfrm>
          <a:off x="4457873" y="1602677"/>
          <a:ext cx="4157994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4157994" y="1475401"/>
              </a:lnTo>
              <a:lnTo>
                <a:pt x="4157994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811524-BB6D-4B21-BD0B-59947001D4A1}">
      <dsp:nvSpPr>
        <dsp:cNvPr id="0" name=""/>
        <dsp:cNvSpPr/>
      </dsp:nvSpPr>
      <dsp:spPr>
        <a:xfrm>
          <a:off x="7390226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90645C-1D35-4FA6-B6C2-898EFC507F6B}">
      <dsp:nvSpPr>
        <dsp:cNvPr id="0" name=""/>
        <dsp:cNvSpPr/>
      </dsp:nvSpPr>
      <dsp:spPr>
        <a:xfrm>
          <a:off x="4457873" y="1602677"/>
          <a:ext cx="3244467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3244467" y="1475401"/>
              </a:lnTo>
              <a:lnTo>
                <a:pt x="3244467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AAD1CB-E4AB-49EC-A501-6ABAD8E32C92}">
      <dsp:nvSpPr>
        <dsp:cNvPr id="0" name=""/>
        <dsp:cNvSpPr/>
      </dsp:nvSpPr>
      <dsp:spPr>
        <a:xfrm>
          <a:off x="6476699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7399D1-3DFF-41E6-A669-8A815B365BE1}">
      <dsp:nvSpPr>
        <dsp:cNvPr id="0" name=""/>
        <dsp:cNvSpPr/>
      </dsp:nvSpPr>
      <dsp:spPr>
        <a:xfrm>
          <a:off x="4457873" y="1602677"/>
          <a:ext cx="2330940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2330940" y="1475401"/>
              </a:lnTo>
              <a:lnTo>
                <a:pt x="233094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248D66-B78D-4996-9EB3-8B5489F26EC5}">
      <dsp:nvSpPr>
        <dsp:cNvPr id="0" name=""/>
        <dsp:cNvSpPr/>
      </dsp:nvSpPr>
      <dsp:spPr>
        <a:xfrm>
          <a:off x="5563172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4AC589-5C04-492F-A1F9-EA1EE8B1FAD0}">
      <dsp:nvSpPr>
        <dsp:cNvPr id="0" name=""/>
        <dsp:cNvSpPr/>
      </dsp:nvSpPr>
      <dsp:spPr>
        <a:xfrm>
          <a:off x="4457873" y="1602677"/>
          <a:ext cx="1417413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1417413" y="1475401"/>
              </a:lnTo>
              <a:lnTo>
                <a:pt x="1417413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4ECE4-5EDD-42B3-B754-63C8EBACB2F0}">
      <dsp:nvSpPr>
        <dsp:cNvPr id="0" name=""/>
        <dsp:cNvSpPr/>
      </dsp:nvSpPr>
      <dsp:spPr>
        <a:xfrm>
          <a:off x="4649645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B71D01-2243-46FB-A062-2CACC7346822}">
      <dsp:nvSpPr>
        <dsp:cNvPr id="0" name=""/>
        <dsp:cNvSpPr/>
      </dsp:nvSpPr>
      <dsp:spPr>
        <a:xfrm>
          <a:off x="4457873" y="1602677"/>
          <a:ext cx="503886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503886" y="1475401"/>
              </a:lnTo>
              <a:lnTo>
                <a:pt x="503886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EDFBE0-B4F6-4B1D-96C6-DDB3CDC50B58}">
      <dsp:nvSpPr>
        <dsp:cNvPr id="0" name=""/>
        <dsp:cNvSpPr/>
      </dsp:nvSpPr>
      <dsp:spPr>
        <a:xfrm>
          <a:off x="3736118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B9108-3DA0-4F08-BEA9-00AD4F1FFE1B}">
      <dsp:nvSpPr>
        <dsp:cNvPr id="0" name=""/>
        <dsp:cNvSpPr/>
      </dsp:nvSpPr>
      <dsp:spPr>
        <a:xfrm>
          <a:off x="4048232" y="1602677"/>
          <a:ext cx="409640" cy="1542021"/>
        </a:xfrm>
        <a:custGeom>
          <a:avLst/>
          <a:gdLst/>
          <a:ahLst/>
          <a:cxnLst/>
          <a:rect l="0" t="0" r="0" b="0"/>
          <a:pathLst>
            <a:path>
              <a:moveTo>
                <a:pt x="409640" y="0"/>
              </a:moveTo>
              <a:lnTo>
                <a:pt x="409640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216525-7A8C-45E4-9597-88ED3603AF3B}">
      <dsp:nvSpPr>
        <dsp:cNvPr id="0" name=""/>
        <dsp:cNvSpPr/>
      </dsp:nvSpPr>
      <dsp:spPr>
        <a:xfrm>
          <a:off x="2822591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C0F114-690B-48EE-B61F-D4A1BA42BE4E}">
      <dsp:nvSpPr>
        <dsp:cNvPr id="0" name=""/>
        <dsp:cNvSpPr/>
      </dsp:nvSpPr>
      <dsp:spPr>
        <a:xfrm>
          <a:off x="3134705" y="1602677"/>
          <a:ext cx="1323167" cy="1542021"/>
        </a:xfrm>
        <a:custGeom>
          <a:avLst/>
          <a:gdLst/>
          <a:ahLst/>
          <a:cxnLst/>
          <a:rect l="0" t="0" r="0" b="0"/>
          <a:pathLst>
            <a:path>
              <a:moveTo>
                <a:pt x="1323167" y="0"/>
              </a:moveTo>
              <a:lnTo>
                <a:pt x="1323167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2D31B9-40D5-4C8B-9091-10F54BEF1A11}">
      <dsp:nvSpPr>
        <dsp:cNvPr id="0" name=""/>
        <dsp:cNvSpPr/>
      </dsp:nvSpPr>
      <dsp:spPr>
        <a:xfrm>
          <a:off x="1909064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ECFB7D-FDA4-487D-9339-86F469AB46BD}">
      <dsp:nvSpPr>
        <dsp:cNvPr id="0" name=""/>
        <dsp:cNvSpPr/>
      </dsp:nvSpPr>
      <dsp:spPr>
        <a:xfrm>
          <a:off x="2221178" y="1602677"/>
          <a:ext cx="2236694" cy="1542021"/>
        </a:xfrm>
        <a:custGeom>
          <a:avLst/>
          <a:gdLst/>
          <a:ahLst/>
          <a:cxnLst/>
          <a:rect l="0" t="0" r="0" b="0"/>
          <a:pathLst>
            <a:path>
              <a:moveTo>
                <a:pt x="2236694" y="0"/>
              </a:moveTo>
              <a:lnTo>
                <a:pt x="2236694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1A8613-4A1F-478C-B0E5-042024217EC5}">
      <dsp:nvSpPr>
        <dsp:cNvPr id="0" name=""/>
        <dsp:cNvSpPr/>
      </dsp:nvSpPr>
      <dsp:spPr>
        <a:xfrm>
          <a:off x="995537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2CFAC0-7F97-469C-ACEB-60DE9381E113}">
      <dsp:nvSpPr>
        <dsp:cNvPr id="0" name=""/>
        <dsp:cNvSpPr/>
      </dsp:nvSpPr>
      <dsp:spPr>
        <a:xfrm>
          <a:off x="1307651" y="1602677"/>
          <a:ext cx="3150222" cy="1542021"/>
        </a:xfrm>
        <a:custGeom>
          <a:avLst/>
          <a:gdLst/>
          <a:ahLst/>
          <a:cxnLst/>
          <a:rect l="0" t="0" r="0" b="0"/>
          <a:pathLst>
            <a:path>
              <a:moveTo>
                <a:pt x="3150222" y="0"/>
              </a:moveTo>
              <a:lnTo>
                <a:pt x="3150222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D0E905-DE28-4237-A39F-84EE977A1A87}">
      <dsp:nvSpPr>
        <dsp:cNvPr id="0" name=""/>
        <dsp:cNvSpPr/>
      </dsp:nvSpPr>
      <dsp:spPr>
        <a:xfrm>
          <a:off x="82010" y="3932034"/>
          <a:ext cx="117043" cy="3065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6522"/>
              </a:lnTo>
              <a:lnTo>
                <a:pt x="117043" y="30652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2C3F9D-C7C3-4B61-9508-E43989E16DF9}">
      <dsp:nvSpPr>
        <dsp:cNvPr id="0" name=""/>
        <dsp:cNvSpPr/>
      </dsp:nvSpPr>
      <dsp:spPr>
        <a:xfrm>
          <a:off x="394124" y="1602677"/>
          <a:ext cx="4063749" cy="1542021"/>
        </a:xfrm>
        <a:custGeom>
          <a:avLst/>
          <a:gdLst/>
          <a:ahLst/>
          <a:cxnLst/>
          <a:rect l="0" t="0" r="0" b="0"/>
          <a:pathLst>
            <a:path>
              <a:moveTo>
                <a:pt x="4063749" y="0"/>
              </a:moveTo>
              <a:lnTo>
                <a:pt x="4063749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C4F6B6-3394-41B7-8B0E-F80DFCBD19DB}">
      <dsp:nvSpPr>
        <dsp:cNvPr id="0" name=""/>
        <dsp:cNvSpPr/>
      </dsp:nvSpPr>
      <dsp:spPr>
        <a:xfrm>
          <a:off x="4412153" y="790270"/>
          <a:ext cx="91440" cy="3400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000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01B29F-5C4C-441E-8C99-96265A226EF6}">
      <dsp:nvSpPr>
        <dsp:cNvPr id="0" name=""/>
        <dsp:cNvSpPr/>
      </dsp:nvSpPr>
      <dsp:spPr>
        <a:xfrm>
          <a:off x="3182393" y="317870"/>
          <a:ext cx="2550961" cy="472400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000" b="1" kern="1200">
              <a:latin typeface="SBB Light"/>
              <a:ea typeface="SBB Light"/>
              <a:cs typeface="SBB Light"/>
              <a:sym typeface="SBB Light"/>
            </a:rPr>
            <a:t>Committente e gestione </a:t>
          </a: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000" kern="1200">
              <a:latin typeface="SBB Light"/>
              <a:ea typeface="SBB Light"/>
              <a:cs typeface="SBB Light"/>
              <a:sym typeface="SBB Light"/>
            </a:rPr>
            <a:t>Andreas Meyer / Toni Häne</a:t>
          </a:r>
        </a:p>
      </dsp:txBody>
      <dsp:txXfrm>
        <a:off x="3182393" y="317870"/>
        <a:ext cx="2550961" cy="472400"/>
      </dsp:txXfrm>
    </dsp:sp>
    <dsp:sp modelId="{29C069AF-0F32-4313-A944-D801ABD5C11A}">
      <dsp:nvSpPr>
        <dsp:cNvPr id="0" name=""/>
        <dsp:cNvSpPr/>
      </dsp:nvSpPr>
      <dsp:spPr>
        <a:xfrm>
          <a:off x="3355605" y="1130277"/>
          <a:ext cx="2204536" cy="472400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it-IT" sz="1000" b="1" kern="12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zione del programma Sicuro! P-O </a:t>
          </a: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it-IT" sz="1000" kern="12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Thomas Brandt (P-O)</a:t>
          </a:r>
          <a:endParaRPr lang="de-CH" sz="100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3355605" y="1130277"/>
        <a:ext cx="2204536" cy="472400"/>
      </dsp:txXfrm>
    </dsp:sp>
    <dsp:sp modelId="{C1B7640B-16DF-4CA4-9091-CA7D0179C5BA}">
      <dsp:nvSpPr>
        <dsp:cNvPr id="0" name=""/>
        <dsp:cNvSpPr/>
      </dsp:nvSpPr>
      <dsp:spPr>
        <a:xfrm>
          <a:off x="3981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 dirty="0">
              <a:latin typeface="SBB Light"/>
              <a:ea typeface="SBB Light"/>
              <a:cs typeface="SBB Light"/>
              <a:sym typeface="SBB Light"/>
            </a:rPr>
            <a:t>Controlli speciali </a:t>
          </a:r>
          <a:r>
            <a:rPr lang="it-IT" sz="700" b="1" kern="1200" dirty="0" smtClean="0">
              <a:latin typeface="SBB Light"/>
              <a:ea typeface="SBB Light"/>
              <a:cs typeface="SBB Light"/>
              <a:sym typeface="SBB Light"/>
            </a:rPr>
            <a:t/>
          </a:r>
          <a:br>
            <a:rPr lang="it-IT" sz="700" b="1" kern="1200" dirty="0" smtClean="0">
              <a:latin typeface="SBB Light"/>
              <a:ea typeface="SBB Light"/>
              <a:cs typeface="SBB Light"/>
              <a:sym typeface="SBB Light"/>
            </a:rPr>
          </a:br>
          <a:r>
            <a:rPr lang="it-IT" sz="700" b="1" kern="1200" dirty="0" smtClean="0">
              <a:latin typeface="SBB Light"/>
              <a:ea typeface="SBB Light"/>
              <a:cs typeface="SBB Light"/>
              <a:sym typeface="SBB Light"/>
            </a:rPr>
            <a:t>CU </a:t>
          </a:r>
          <a:r>
            <a:rPr lang="it-IT" sz="700" b="1" kern="1200" dirty="0">
              <a:latin typeface="SBB Light"/>
              <a:ea typeface="SBB Light"/>
              <a:cs typeface="SBB Light"/>
              <a:sym typeface="SBB Light"/>
            </a:rPr>
            <a:t>IV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700" b="1" kern="1200" dirty="0">
            <a:latin typeface="SBB Light" pitchFamily="2" charset="0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 dirty="0">
              <a:latin typeface="SBB Light"/>
              <a:ea typeface="SBB Light"/>
              <a:cs typeface="SBB Light"/>
              <a:sym typeface="SBB Light"/>
            </a:rPr>
            <a:t>Roland </a:t>
          </a:r>
          <a:r>
            <a:rPr lang="it-IT" sz="700" kern="1200" dirty="0" err="1">
              <a:latin typeface="SBB Light"/>
              <a:ea typeface="SBB Light"/>
              <a:cs typeface="SBB Light"/>
              <a:sym typeface="SBB Light"/>
            </a:rPr>
            <a:t>Alder</a:t>
          </a:r>
          <a:r>
            <a:rPr lang="it-IT" sz="700" kern="1200" dirty="0">
              <a:latin typeface="SBB Light"/>
              <a:ea typeface="SBB Light"/>
              <a:cs typeface="SBB Light"/>
              <a:sym typeface="SBB Light"/>
            </a:rPr>
            <a:t> 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 dirty="0">
              <a:latin typeface="SBB Light"/>
              <a:ea typeface="SBB Light"/>
              <a:cs typeface="SBB Light"/>
              <a:sym typeface="SBB Light"/>
            </a:rPr>
            <a:t>(P-O-</a:t>
          </a:r>
          <a:r>
            <a:rPr lang="it-IT" sz="700" kern="1200" dirty="0" err="1">
              <a:latin typeface="SBB Light"/>
              <a:ea typeface="SBB Light"/>
              <a:cs typeface="SBB Light"/>
              <a:sym typeface="SBB Light"/>
            </a:rPr>
            <a:t>UHR</a:t>
          </a:r>
          <a:r>
            <a:rPr lang="it-IT" sz="700" kern="1200" dirty="0">
              <a:latin typeface="SBB Light"/>
              <a:ea typeface="SBB Light"/>
              <a:cs typeface="SBB Light"/>
              <a:sym typeface="SBB Light"/>
            </a:rPr>
            <a:t>-SAN)</a:t>
          </a:r>
        </a:p>
      </dsp:txBody>
      <dsp:txXfrm>
        <a:off x="3981" y="3144698"/>
        <a:ext cx="780286" cy="787335"/>
      </dsp:txXfrm>
    </dsp:sp>
    <dsp:sp modelId="{591ECE7D-1FEC-46A0-A4DB-C298D2AE9D8A}">
      <dsp:nvSpPr>
        <dsp:cNvPr id="0" name=""/>
        <dsp:cNvSpPr/>
      </dsp:nvSpPr>
      <dsp:spPr>
        <a:xfrm>
          <a:off x="199053" y="4146700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1</a:t>
          </a:r>
        </a:p>
      </dsp:txBody>
      <dsp:txXfrm>
        <a:off x="199053" y="4146700"/>
        <a:ext cx="438519" cy="183712"/>
      </dsp:txXfrm>
    </dsp:sp>
    <dsp:sp modelId="{60809CFC-1EAE-4630-85D1-DFA965F4F688}">
      <dsp:nvSpPr>
        <dsp:cNvPr id="0" name=""/>
        <dsp:cNvSpPr/>
      </dsp:nvSpPr>
      <dsp:spPr>
        <a:xfrm>
          <a:off x="917508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>
              <a:latin typeface="SBB Light"/>
              <a:ea typeface="SBB Light"/>
              <a:cs typeface="SBB Light"/>
              <a:sym typeface="SBB Light"/>
            </a:rPr>
            <a:t>Rinnovo sistema porte CU IV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700" b="1" kern="1200" dirty="0">
            <a:latin typeface="SBB Light" pitchFamily="2" charset="0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Martin Hess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(P-O-AM-FT)</a:t>
          </a:r>
        </a:p>
      </dsp:txBody>
      <dsp:txXfrm>
        <a:off x="917508" y="3144698"/>
        <a:ext cx="780286" cy="787335"/>
      </dsp:txXfrm>
    </dsp:sp>
    <dsp:sp modelId="{8B0B53AA-926B-42BF-8410-051F1BA91A19}">
      <dsp:nvSpPr>
        <dsp:cNvPr id="0" name=""/>
        <dsp:cNvSpPr/>
      </dsp:nvSpPr>
      <dsp:spPr>
        <a:xfrm>
          <a:off x="1112580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2 + 3</a:t>
          </a:r>
        </a:p>
      </dsp:txBody>
      <dsp:txXfrm>
        <a:off x="1112580" y="4148074"/>
        <a:ext cx="438519" cy="183712"/>
      </dsp:txXfrm>
    </dsp:sp>
    <dsp:sp modelId="{2D0C3AD6-1409-4B25-B17F-28C412FD7280}">
      <dsp:nvSpPr>
        <dsp:cNvPr id="0" name=""/>
        <dsp:cNvSpPr/>
      </dsp:nvSpPr>
      <dsp:spPr>
        <a:xfrm>
          <a:off x="1831035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>
              <a:latin typeface="SBB Light"/>
              <a:ea typeface="SBB Light"/>
              <a:cs typeface="SBB Light"/>
              <a:sym typeface="SBB Light"/>
            </a:rPr>
            <a:t>Circuito parallelo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700" kern="1200" dirty="0">
            <a:latin typeface="SBB Light" pitchFamily="2" charset="0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Martin Hess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(P-O-AM-FT)</a:t>
          </a:r>
          <a:endParaRPr lang="de-CH" sz="700" b="1" kern="1200" dirty="0">
            <a:latin typeface="SBB Light" pitchFamily="2" charset="0"/>
          </a:endParaRPr>
        </a:p>
      </dsp:txBody>
      <dsp:txXfrm>
        <a:off x="1831035" y="3144698"/>
        <a:ext cx="780286" cy="787335"/>
      </dsp:txXfrm>
    </dsp:sp>
    <dsp:sp modelId="{8F0A2041-DAA7-44C4-B980-8E6EDF3F57E5}">
      <dsp:nvSpPr>
        <dsp:cNvPr id="0" name=""/>
        <dsp:cNvSpPr/>
      </dsp:nvSpPr>
      <dsp:spPr>
        <a:xfrm>
          <a:off x="2026107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4</a:t>
          </a:r>
        </a:p>
      </dsp:txBody>
      <dsp:txXfrm>
        <a:off x="2026107" y="4148074"/>
        <a:ext cx="438519" cy="183712"/>
      </dsp:txXfrm>
    </dsp:sp>
    <dsp:sp modelId="{8F3C0838-EAD2-4337-808B-2DCD768D9FE9}">
      <dsp:nvSpPr>
        <dsp:cNvPr id="0" name=""/>
        <dsp:cNvSpPr/>
      </dsp:nvSpPr>
      <dsp:spPr>
        <a:xfrm>
          <a:off x="2744562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>
              <a:latin typeface="SBB Light"/>
              <a:ea typeface="SBB Light"/>
              <a:cs typeface="SBB Light"/>
              <a:sym typeface="SBB Light"/>
            </a:rPr>
            <a:t>Verifica misure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>
              <a:latin typeface="SBB Light"/>
              <a:ea typeface="SBB Light"/>
              <a:cs typeface="SBB Light"/>
              <a:sym typeface="SBB Light"/>
            </a:rPr>
            <a:t>operative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700" b="1" kern="1200" dirty="0">
            <a:latin typeface="SBB Light" pitchFamily="2" charset="0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Roger Kessler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(P-O-SQU-SIM)</a:t>
          </a:r>
        </a:p>
      </dsp:txBody>
      <dsp:txXfrm>
        <a:off x="2744562" y="3144698"/>
        <a:ext cx="780286" cy="787335"/>
      </dsp:txXfrm>
    </dsp:sp>
    <dsp:sp modelId="{4E90235C-3906-45B2-81E2-69236A8E39C0}">
      <dsp:nvSpPr>
        <dsp:cNvPr id="0" name=""/>
        <dsp:cNvSpPr/>
      </dsp:nvSpPr>
      <dsp:spPr>
        <a:xfrm>
          <a:off x="2939634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5</a:t>
          </a:r>
        </a:p>
      </dsp:txBody>
      <dsp:txXfrm>
        <a:off x="2939634" y="4148074"/>
        <a:ext cx="438519" cy="183712"/>
      </dsp:txXfrm>
    </dsp:sp>
    <dsp:sp modelId="{B0AB5278-3EC8-4898-9375-770F4AA7E79E}">
      <dsp:nvSpPr>
        <dsp:cNvPr id="0" name=""/>
        <dsp:cNvSpPr/>
      </dsp:nvSpPr>
      <dsp:spPr>
        <a:xfrm>
          <a:off x="3658089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 dirty="0">
              <a:latin typeface="SBB Light"/>
              <a:ea typeface="SBB Light"/>
              <a:cs typeface="SBB Light"/>
              <a:sym typeface="SBB Light"/>
            </a:rPr>
            <a:t>Controllo e ulteriore sviluppo processo di autorizzazione partenza treni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 dirty="0">
              <a:latin typeface="SBB Light"/>
              <a:ea typeface="SBB Light"/>
              <a:cs typeface="SBB Light"/>
              <a:sym typeface="SBB Light"/>
            </a:rPr>
            <a:t>Reto </a:t>
          </a:r>
          <a:r>
            <a:rPr lang="it-IT" sz="700" kern="1200" dirty="0" err="1">
              <a:latin typeface="SBB Light"/>
              <a:ea typeface="SBB Light"/>
              <a:cs typeface="SBB Light"/>
              <a:sym typeface="SBB Light"/>
            </a:rPr>
            <a:t>Liechti</a:t>
          </a:r>
          <a:endParaRPr lang="it-IT" sz="700" kern="1200" dirty="0">
            <a:latin typeface="SBB Light"/>
            <a:ea typeface="SBB Light"/>
            <a:cs typeface="SBB Light"/>
            <a:sym typeface="SBB Light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 dirty="0">
              <a:latin typeface="SBB Light"/>
              <a:ea typeface="SBB Light"/>
              <a:cs typeface="SBB Light"/>
              <a:sym typeface="SBB Light"/>
            </a:rPr>
            <a:t>(P-O-BP-KBC)</a:t>
          </a:r>
        </a:p>
      </dsp:txBody>
      <dsp:txXfrm>
        <a:off x="3658089" y="3144698"/>
        <a:ext cx="780286" cy="787335"/>
      </dsp:txXfrm>
    </dsp:sp>
    <dsp:sp modelId="{6CE0EE06-402F-48FD-95E6-AEF5FF10BBD2}">
      <dsp:nvSpPr>
        <dsp:cNvPr id="0" name=""/>
        <dsp:cNvSpPr/>
      </dsp:nvSpPr>
      <dsp:spPr>
        <a:xfrm>
          <a:off x="3853161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6</a:t>
          </a:r>
        </a:p>
      </dsp:txBody>
      <dsp:txXfrm>
        <a:off x="3853161" y="4148074"/>
        <a:ext cx="438519" cy="183712"/>
      </dsp:txXfrm>
    </dsp:sp>
    <dsp:sp modelId="{6FDEB2FC-CC9A-4BCC-AD31-91C660A6F016}">
      <dsp:nvSpPr>
        <dsp:cNvPr id="0" name=""/>
        <dsp:cNvSpPr/>
      </dsp:nvSpPr>
      <dsp:spPr>
        <a:xfrm>
          <a:off x="4571616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 dirty="0">
              <a:latin typeface="SBB Light"/>
              <a:ea typeface="SBB Light"/>
              <a:cs typeface="SBB Light"/>
              <a:sym typeface="SBB Light"/>
            </a:rPr>
            <a:t>Adeguamento processi e contenuti di manutenzione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it-IT" sz="700" kern="1200" dirty="0">
            <a:latin typeface="SBB Light"/>
            <a:ea typeface="SBB Light"/>
            <a:cs typeface="SBB Light"/>
            <a:sym typeface="SBB Light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 dirty="0">
              <a:latin typeface="SBB Light"/>
              <a:ea typeface="SBB Light"/>
              <a:cs typeface="SBB Light"/>
              <a:sym typeface="SBB Light"/>
            </a:rPr>
            <a:t>Ferruccio Bianchi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 dirty="0">
              <a:latin typeface="SBB Light"/>
              <a:ea typeface="SBB Light"/>
              <a:cs typeface="SBB Light"/>
              <a:sym typeface="SBB Light"/>
            </a:rPr>
            <a:t>(P-O-AM)</a:t>
          </a:r>
        </a:p>
      </dsp:txBody>
      <dsp:txXfrm>
        <a:off x="4571616" y="3144698"/>
        <a:ext cx="780286" cy="787335"/>
      </dsp:txXfrm>
    </dsp:sp>
    <dsp:sp modelId="{62FEDEBB-EA1B-4261-8C6A-66F124073364}">
      <dsp:nvSpPr>
        <dsp:cNvPr id="0" name=""/>
        <dsp:cNvSpPr/>
      </dsp:nvSpPr>
      <dsp:spPr>
        <a:xfrm>
          <a:off x="4766688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7</a:t>
          </a:r>
        </a:p>
      </dsp:txBody>
      <dsp:txXfrm>
        <a:off x="4766688" y="4148074"/>
        <a:ext cx="438519" cy="183712"/>
      </dsp:txXfrm>
    </dsp:sp>
    <dsp:sp modelId="{72C42CCE-0697-451F-A619-0945EEDFD849}">
      <dsp:nvSpPr>
        <dsp:cNvPr id="0" name=""/>
        <dsp:cNvSpPr/>
      </dsp:nvSpPr>
      <dsp:spPr>
        <a:xfrm>
          <a:off x="5485143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>
              <a:latin typeface="SBB Light"/>
              <a:ea typeface="SBB Light"/>
              <a:cs typeface="SBB Light"/>
              <a:sym typeface="SBB Light"/>
            </a:rPr>
            <a:t>Controlli speciali 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>
              <a:latin typeface="SBB Light"/>
              <a:ea typeface="SBB Light"/>
              <a:cs typeface="SBB Light"/>
              <a:sym typeface="SBB Light"/>
            </a:rPr>
            <a:t>EC/Bt4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700" kern="1200" dirty="0">
            <a:latin typeface="SBB Light" pitchFamily="2" charset="0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Roland Alder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(P-O-UHR-SAN)</a:t>
          </a:r>
        </a:p>
      </dsp:txBody>
      <dsp:txXfrm>
        <a:off x="5485143" y="3144698"/>
        <a:ext cx="780286" cy="787335"/>
      </dsp:txXfrm>
    </dsp:sp>
    <dsp:sp modelId="{18E7B84C-7128-40E4-B20D-0153489451E2}">
      <dsp:nvSpPr>
        <dsp:cNvPr id="0" name=""/>
        <dsp:cNvSpPr/>
      </dsp:nvSpPr>
      <dsp:spPr>
        <a:xfrm>
          <a:off x="5680215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8</a:t>
          </a:r>
        </a:p>
      </dsp:txBody>
      <dsp:txXfrm>
        <a:off x="5680215" y="4148074"/>
        <a:ext cx="438519" cy="183712"/>
      </dsp:txXfrm>
    </dsp:sp>
    <dsp:sp modelId="{F26BA9A8-4166-4D77-A099-312209F3A16D}">
      <dsp:nvSpPr>
        <dsp:cNvPr id="0" name=""/>
        <dsp:cNvSpPr/>
      </dsp:nvSpPr>
      <dsp:spPr>
        <a:xfrm>
          <a:off x="6398670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>
              <a:latin typeface="SBB Light"/>
              <a:ea typeface="SBB Light"/>
              <a:cs typeface="SBB Light"/>
              <a:sym typeface="SBB Light"/>
            </a:rPr>
            <a:t>Audit esterno, organizzazione e processi di manutenzione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André Jenni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(P-O-SQU-QM) </a:t>
          </a:r>
        </a:p>
      </dsp:txBody>
      <dsp:txXfrm>
        <a:off x="6398670" y="3144698"/>
        <a:ext cx="780286" cy="787335"/>
      </dsp:txXfrm>
    </dsp:sp>
    <dsp:sp modelId="{C3848B27-0433-44BA-BE6D-239BB0F24EC4}">
      <dsp:nvSpPr>
        <dsp:cNvPr id="0" name=""/>
        <dsp:cNvSpPr/>
      </dsp:nvSpPr>
      <dsp:spPr>
        <a:xfrm>
          <a:off x="6593742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9</a:t>
          </a:r>
        </a:p>
      </dsp:txBody>
      <dsp:txXfrm>
        <a:off x="6593742" y="4148074"/>
        <a:ext cx="438519" cy="183712"/>
      </dsp:txXfrm>
    </dsp:sp>
    <dsp:sp modelId="{CD9C42CA-84C6-4249-A6DE-52164ABC062C}">
      <dsp:nvSpPr>
        <dsp:cNvPr id="0" name=""/>
        <dsp:cNvSpPr/>
      </dsp:nvSpPr>
      <dsp:spPr>
        <a:xfrm>
          <a:off x="7312197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>
              <a:latin typeface="SBB Light"/>
              <a:ea typeface="SBB Light"/>
              <a:cs typeface="SBB Light"/>
              <a:sym typeface="SBB Light"/>
            </a:rPr>
            <a:t>Audit flotta</a:t>
          </a:r>
          <a:endParaRPr lang="de-CH" sz="700" kern="1200" dirty="0">
            <a:latin typeface="SBB Light" pitchFamily="2" charset="0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700" kern="1200" dirty="0">
            <a:latin typeface="SBB Light" pitchFamily="2" charset="0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Ferruccio Bianchi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(P-O-AM)</a:t>
          </a:r>
        </a:p>
      </dsp:txBody>
      <dsp:txXfrm>
        <a:off x="7312197" y="3144698"/>
        <a:ext cx="780286" cy="787335"/>
      </dsp:txXfrm>
    </dsp:sp>
    <dsp:sp modelId="{B9EFE3FB-F3B2-4B6D-A64B-30D567F84C12}">
      <dsp:nvSpPr>
        <dsp:cNvPr id="0" name=""/>
        <dsp:cNvSpPr/>
      </dsp:nvSpPr>
      <dsp:spPr>
        <a:xfrm>
          <a:off x="7507269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10</a:t>
          </a:r>
        </a:p>
      </dsp:txBody>
      <dsp:txXfrm>
        <a:off x="7507269" y="4148074"/>
        <a:ext cx="438519" cy="183712"/>
      </dsp:txXfrm>
    </dsp:sp>
    <dsp:sp modelId="{0119CCB5-ABF6-4C75-AEA6-56C080297E09}">
      <dsp:nvSpPr>
        <dsp:cNvPr id="0" name=""/>
        <dsp:cNvSpPr/>
      </dsp:nvSpPr>
      <dsp:spPr>
        <a:xfrm>
          <a:off x="8225724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b="1" kern="1200">
              <a:latin typeface="SBB Light"/>
              <a:ea typeface="SBB Light"/>
              <a:cs typeface="SBB Light"/>
              <a:sym typeface="SBB Light"/>
            </a:rPr>
            <a:t>Verifica strategia di manutenzione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700" kern="1200" dirty="0">
            <a:latin typeface="SBB Light" pitchFamily="2" charset="0"/>
          </a:endParaRP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Christine Maier</a:t>
          </a:r>
        </a:p>
        <a:p>
          <a:pPr lvl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700" kern="1200">
              <a:latin typeface="SBB Light"/>
              <a:ea typeface="SBB Light"/>
              <a:cs typeface="SBB Light"/>
              <a:sym typeface="SBB Light"/>
            </a:rPr>
            <a:t>(P-O-GET)</a:t>
          </a:r>
        </a:p>
      </dsp:txBody>
      <dsp:txXfrm>
        <a:off x="8225724" y="3144698"/>
        <a:ext cx="780286" cy="787335"/>
      </dsp:txXfrm>
    </dsp:sp>
    <dsp:sp modelId="{11DA6F3D-3B6C-4AAB-9BD3-3B384CC501A3}">
      <dsp:nvSpPr>
        <dsp:cNvPr id="0" name=""/>
        <dsp:cNvSpPr/>
      </dsp:nvSpPr>
      <dsp:spPr>
        <a:xfrm>
          <a:off x="8420796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14</a:t>
          </a:r>
        </a:p>
      </dsp:txBody>
      <dsp:txXfrm>
        <a:off x="8420796" y="4148074"/>
        <a:ext cx="438519" cy="183712"/>
      </dsp:txXfrm>
    </dsp:sp>
    <dsp:sp modelId="{4430D1F1-4169-4541-9E38-94BB66275897}">
      <dsp:nvSpPr>
        <dsp:cNvPr id="0" name=""/>
        <dsp:cNvSpPr/>
      </dsp:nvSpPr>
      <dsp:spPr>
        <a:xfrm>
          <a:off x="2725172" y="1896978"/>
          <a:ext cx="1448696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Amministrazione e reporting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Daniel Novak (P-O-STA)</a:t>
          </a:r>
          <a:endParaRPr lang="de-CH" sz="900" kern="1200" dirty="0">
            <a:latin typeface="SBB Light" pitchFamily="2" charset="0"/>
          </a:endParaRPr>
        </a:p>
      </dsp:txBody>
      <dsp:txXfrm>
        <a:off x="2725172" y="1896978"/>
        <a:ext cx="1448696" cy="314932"/>
      </dsp:txXfrm>
    </dsp:sp>
    <dsp:sp modelId="{4EF84C94-F6CA-484F-B52B-606432443C05}">
      <dsp:nvSpPr>
        <dsp:cNvPr id="0" name=""/>
        <dsp:cNvSpPr/>
      </dsp:nvSpPr>
      <dsp:spPr>
        <a:xfrm>
          <a:off x="4798131" y="1894684"/>
          <a:ext cx="1449489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Comunicazione 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Fritz Sterchi (KOM-P)</a:t>
          </a:r>
        </a:p>
      </dsp:txBody>
      <dsp:txXfrm>
        <a:off x="4798131" y="1894684"/>
        <a:ext cx="1449489" cy="314932"/>
      </dsp:txXfrm>
    </dsp:sp>
    <dsp:sp modelId="{7C636518-A830-4675-B1FC-16D96E0BE54F}">
      <dsp:nvSpPr>
        <dsp:cNvPr id="0" name=""/>
        <dsp:cNvSpPr/>
      </dsp:nvSpPr>
      <dsp:spPr>
        <a:xfrm>
          <a:off x="2054473" y="2357447"/>
          <a:ext cx="1417200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Parti sociali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Seraina Lang (P-HR-FU)</a:t>
          </a:r>
        </a:p>
      </dsp:txBody>
      <dsp:txXfrm>
        <a:off x="2054473" y="2357447"/>
        <a:ext cx="1417200" cy="314932"/>
      </dsp:txXfrm>
    </dsp:sp>
    <dsp:sp modelId="{81AD70D2-FA4A-4F67-AB41-4CAD174C56B9}">
      <dsp:nvSpPr>
        <dsp:cNvPr id="0" name=""/>
        <dsp:cNvSpPr/>
      </dsp:nvSpPr>
      <dsp:spPr>
        <a:xfrm>
          <a:off x="5518745" y="2357444"/>
          <a:ext cx="1417200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Finanze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Philippe Wäber (P-F-O)</a:t>
          </a:r>
        </a:p>
      </dsp:txBody>
      <dsp:txXfrm>
        <a:off x="5518745" y="2357444"/>
        <a:ext cx="1417200" cy="31493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1171E-0072-4DDD-91AF-52DB62BB0C6F}">
      <dsp:nvSpPr>
        <dsp:cNvPr id="0" name=""/>
        <dsp:cNvSpPr/>
      </dsp:nvSpPr>
      <dsp:spPr>
        <a:xfrm>
          <a:off x="4385938" y="1086738"/>
          <a:ext cx="1813901" cy="303790"/>
        </a:xfrm>
        <a:custGeom>
          <a:avLst/>
          <a:gdLst/>
          <a:ahLst/>
          <a:cxnLst/>
          <a:rect l="0" t="0" r="0" b="0"/>
          <a:pathLst>
            <a:path>
              <a:moveTo>
                <a:pt x="0" y="303790"/>
              </a:moveTo>
              <a:lnTo>
                <a:pt x="1813901" y="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5B7631-8540-4F99-B9E3-4B496242F73C}">
      <dsp:nvSpPr>
        <dsp:cNvPr id="0" name=""/>
        <dsp:cNvSpPr/>
      </dsp:nvSpPr>
      <dsp:spPr>
        <a:xfrm>
          <a:off x="4385938" y="1390528"/>
          <a:ext cx="1342103" cy="11380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8011"/>
              </a:lnTo>
              <a:lnTo>
                <a:pt x="1342103" y="1138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5B6202-4E04-4449-85D3-31113D7D0F18}">
      <dsp:nvSpPr>
        <dsp:cNvPr id="0" name=""/>
        <dsp:cNvSpPr/>
      </dsp:nvSpPr>
      <dsp:spPr>
        <a:xfrm>
          <a:off x="3073725" y="1390528"/>
          <a:ext cx="1312212" cy="1138011"/>
        </a:xfrm>
        <a:custGeom>
          <a:avLst/>
          <a:gdLst/>
          <a:ahLst/>
          <a:cxnLst/>
          <a:rect l="0" t="0" r="0" b="0"/>
          <a:pathLst>
            <a:path>
              <a:moveTo>
                <a:pt x="1312212" y="0"/>
              </a:moveTo>
              <a:lnTo>
                <a:pt x="1312212" y="1138011"/>
              </a:lnTo>
              <a:lnTo>
                <a:pt x="0" y="1138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46862A-16D4-4BFD-BD18-C1B68F2901A7}">
      <dsp:nvSpPr>
        <dsp:cNvPr id="0" name=""/>
        <dsp:cNvSpPr/>
      </dsp:nvSpPr>
      <dsp:spPr>
        <a:xfrm>
          <a:off x="4385938" y="1390528"/>
          <a:ext cx="872098" cy="4714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1413"/>
              </a:lnTo>
              <a:lnTo>
                <a:pt x="872098" y="47141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6EDF22-D0EC-4339-A430-3597838F18C9}">
      <dsp:nvSpPr>
        <dsp:cNvPr id="0" name=""/>
        <dsp:cNvSpPr/>
      </dsp:nvSpPr>
      <dsp:spPr>
        <a:xfrm>
          <a:off x="3644241" y="1390528"/>
          <a:ext cx="741697" cy="471413"/>
        </a:xfrm>
        <a:custGeom>
          <a:avLst/>
          <a:gdLst/>
          <a:ahLst/>
          <a:cxnLst/>
          <a:rect l="0" t="0" r="0" b="0"/>
          <a:pathLst>
            <a:path>
              <a:moveTo>
                <a:pt x="741697" y="0"/>
              </a:moveTo>
              <a:lnTo>
                <a:pt x="741697" y="471413"/>
              </a:lnTo>
              <a:lnTo>
                <a:pt x="0" y="47141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9014BC-34FD-4282-8A53-6A033548C5C5}">
      <dsp:nvSpPr>
        <dsp:cNvPr id="0" name=""/>
        <dsp:cNvSpPr/>
      </dsp:nvSpPr>
      <dsp:spPr>
        <a:xfrm>
          <a:off x="6749288" y="4218440"/>
          <a:ext cx="91440" cy="23371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3716"/>
              </a:lnTo>
              <a:lnTo>
                <a:pt x="132553" y="23371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B45CA3-1130-41F4-B279-5BE3728C53C0}">
      <dsp:nvSpPr>
        <dsp:cNvPr id="0" name=""/>
        <dsp:cNvSpPr/>
      </dsp:nvSpPr>
      <dsp:spPr>
        <a:xfrm>
          <a:off x="4385938" y="1390528"/>
          <a:ext cx="2893861" cy="16049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1507"/>
              </a:lnTo>
              <a:lnTo>
                <a:pt x="2893861" y="1501507"/>
              </a:lnTo>
              <a:lnTo>
                <a:pt x="2893861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4ECE4-5EDD-42B3-B754-63C8EBACB2F0}">
      <dsp:nvSpPr>
        <dsp:cNvPr id="0" name=""/>
        <dsp:cNvSpPr/>
      </dsp:nvSpPr>
      <dsp:spPr>
        <a:xfrm>
          <a:off x="5376076" y="4218440"/>
          <a:ext cx="189789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9789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B71D01-2243-46FB-A062-2CACC7346822}">
      <dsp:nvSpPr>
        <dsp:cNvPr id="0" name=""/>
        <dsp:cNvSpPr/>
      </dsp:nvSpPr>
      <dsp:spPr>
        <a:xfrm>
          <a:off x="4385938" y="1390528"/>
          <a:ext cx="1474928" cy="16049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1507"/>
              </a:lnTo>
              <a:lnTo>
                <a:pt x="1474928" y="1501507"/>
              </a:lnTo>
              <a:lnTo>
                <a:pt x="1474928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EDFBE0-B4F6-4B1D-96C6-DDB3CDC50B58}">
      <dsp:nvSpPr>
        <dsp:cNvPr id="0" name=""/>
        <dsp:cNvSpPr/>
      </dsp:nvSpPr>
      <dsp:spPr>
        <a:xfrm>
          <a:off x="3957143" y="4218440"/>
          <a:ext cx="181796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1796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B9108-3DA0-4F08-BEA9-00AD4F1FFE1B}">
      <dsp:nvSpPr>
        <dsp:cNvPr id="0" name=""/>
        <dsp:cNvSpPr/>
      </dsp:nvSpPr>
      <dsp:spPr>
        <a:xfrm>
          <a:off x="4340218" y="1390528"/>
          <a:ext cx="91440" cy="16049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501507"/>
              </a:lnTo>
              <a:lnTo>
                <a:pt x="101716" y="1501507"/>
              </a:lnTo>
              <a:lnTo>
                <a:pt x="101716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216525-7A8C-45E4-9597-88ED3603AF3B}">
      <dsp:nvSpPr>
        <dsp:cNvPr id="0" name=""/>
        <dsp:cNvSpPr/>
      </dsp:nvSpPr>
      <dsp:spPr>
        <a:xfrm>
          <a:off x="2538210" y="4218440"/>
          <a:ext cx="181796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1796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C0F114-690B-48EE-B61F-D4A1BA42BE4E}">
      <dsp:nvSpPr>
        <dsp:cNvPr id="0" name=""/>
        <dsp:cNvSpPr/>
      </dsp:nvSpPr>
      <dsp:spPr>
        <a:xfrm>
          <a:off x="3023001" y="1390528"/>
          <a:ext cx="1362936" cy="1604985"/>
        </a:xfrm>
        <a:custGeom>
          <a:avLst/>
          <a:gdLst/>
          <a:ahLst/>
          <a:cxnLst/>
          <a:rect l="0" t="0" r="0" b="0"/>
          <a:pathLst>
            <a:path>
              <a:moveTo>
                <a:pt x="1362936" y="0"/>
              </a:moveTo>
              <a:lnTo>
                <a:pt x="1362936" y="1501507"/>
              </a:lnTo>
              <a:lnTo>
                <a:pt x="0" y="1501507"/>
              </a:lnTo>
              <a:lnTo>
                <a:pt x="0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2D31B9-40D5-4C8B-9091-10F54BEF1A11}">
      <dsp:nvSpPr>
        <dsp:cNvPr id="0" name=""/>
        <dsp:cNvSpPr/>
      </dsp:nvSpPr>
      <dsp:spPr>
        <a:xfrm>
          <a:off x="1119277" y="4218440"/>
          <a:ext cx="181796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1796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ECFB7D-FDA4-487D-9339-86F469AB46BD}">
      <dsp:nvSpPr>
        <dsp:cNvPr id="0" name=""/>
        <dsp:cNvSpPr/>
      </dsp:nvSpPr>
      <dsp:spPr>
        <a:xfrm>
          <a:off x="1604069" y="1390528"/>
          <a:ext cx="2781869" cy="1604985"/>
        </a:xfrm>
        <a:custGeom>
          <a:avLst/>
          <a:gdLst/>
          <a:ahLst/>
          <a:cxnLst/>
          <a:rect l="0" t="0" r="0" b="0"/>
          <a:pathLst>
            <a:path>
              <a:moveTo>
                <a:pt x="2781869" y="0"/>
              </a:moveTo>
              <a:lnTo>
                <a:pt x="2781869" y="1501507"/>
              </a:lnTo>
              <a:lnTo>
                <a:pt x="0" y="1501507"/>
              </a:lnTo>
              <a:lnTo>
                <a:pt x="0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C4F6B6-3394-41B7-8B0E-F80DFCBD19DB}">
      <dsp:nvSpPr>
        <dsp:cNvPr id="0" name=""/>
        <dsp:cNvSpPr/>
      </dsp:nvSpPr>
      <dsp:spPr>
        <a:xfrm>
          <a:off x="4339144" y="513169"/>
          <a:ext cx="91440" cy="24490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1432"/>
              </a:lnTo>
              <a:lnTo>
                <a:pt x="46794" y="141432"/>
              </a:lnTo>
              <a:lnTo>
                <a:pt x="46794" y="24490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01B29F-5C4C-441E-8C99-96265A226EF6}">
      <dsp:nvSpPr>
        <dsp:cNvPr id="0" name=""/>
        <dsp:cNvSpPr/>
      </dsp:nvSpPr>
      <dsp:spPr>
        <a:xfrm>
          <a:off x="2365072" y="0"/>
          <a:ext cx="4039584" cy="513169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100" b="1" kern="1200">
              <a:latin typeface="SBB Light"/>
              <a:ea typeface="SBB Light"/>
              <a:cs typeface="SBB Light"/>
              <a:sym typeface="SBB Light"/>
            </a:rPr>
            <a:t>Committente e gestione </a:t>
          </a: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050" kern="1200">
              <a:latin typeface="SBB Light"/>
              <a:ea typeface="SBB Light"/>
              <a:cs typeface="SBB Light"/>
              <a:sym typeface="SBB Light"/>
            </a:rPr>
            <a:t>Andreas Meyer / Toni Häne / Jacques Boschung</a:t>
          </a:r>
        </a:p>
      </dsp:txBody>
      <dsp:txXfrm>
        <a:off x="2365072" y="0"/>
        <a:ext cx="4039584" cy="513169"/>
      </dsp:txXfrm>
    </dsp:sp>
    <dsp:sp modelId="{29C069AF-0F32-4313-A944-D801ABD5C11A}">
      <dsp:nvSpPr>
        <dsp:cNvPr id="0" name=""/>
        <dsp:cNvSpPr/>
      </dsp:nvSpPr>
      <dsp:spPr>
        <a:xfrm>
          <a:off x="2725789" y="758079"/>
          <a:ext cx="3320297" cy="632449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it-IT" sz="1000" b="1" kern="12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Direzione del programma Sicuro! Gruppo FFS</a:t>
          </a:r>
        </a:p>
        <a:p>
          <a:pPr lvl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it-IT" sz="1000" kern="120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/>
              <a:ea typeface="SBB Light"/>
              <a:cs typeface="SBB Light"/>
              <a:sym typeface="SBB Light"/>
            </a:rPr>
            <a:t>Patrick Hadorn (K-SQ)</a:t>
          </a:r>
          <a:endParaRPr lang="de-CH" sz="100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2725789" y="758079"/>
        <a:ext cx="3320297" cy="632449"/>
      </dsp:txXfrm>
    </dsp:sp>
    <dsp:sp modelId="{2D0C3AD6-1409-4B25-B17F-28C412FD7280}">
      <dsp:nvSpPr>
        <dsp:cNvPr id="0" name=""/>
        <dsp:cNvSpPr/>
      </dsp:nvSpPr>
      <dsp:spPr>
        <a:xfrm>
          <a:off x="998080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 dirty="0">
              <a:latin typeface="SBB Light"/>
              <a:ea typeface="SBB Light"/>
              <a:cs typeface="SBB Light"/>
              <a:sym typeface="SBB Light"/>
            </a:rPr>
            <a:t> 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Inchiesta esterna </a:t>
          </a:r>
          <a:r>
            <a:rPr lang="it-IT" sz="900" b="1" kern="1200" dirty="0">
              <a:latin typeface="SBB Light"/>
              <a:ea typeface="SBB Light"/>
              <a:cs typeface="SBB Light"/>
              <a:sym typeface="SBB Light"/>
            </a:rPr>
            <a:t>«segnalazioni»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900" b="1" kern="1200" dirty="0">
            <a:latin typeface="SBB Light" pitchFamily="2" charset="0"/>
          </a:endParaRP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 dirty="0">
              <a:latin typeface="SBB Light"/>
              <a:ea typeface="SBB Light"/>
              <a:cs typeface="SBB Light"/>
              <a:sym typeface="SBB Light"/>
            </a:rPr>
            <a:t>Susanne </a:t>
          </a:r>
          <a:r>
            <a:rPr lang="it-IT" sz="900" kern="1200" dirty="0" err="1">
              <a:latin typeface="SBB Light"/>
              <a:ea typeface="SBB Light"/>
              <a:cs typeface="SBB Light"/>
              <a:sym typeface="SBB Light"/>
            </a:rPr>
            <a:t>Stierli</a:t>
          </a:r>
          <a:endParaRPr lang="it-IT" sz="900" kern="1200" dirty="0">
            <a:latin typeface="SBB Light"/>
            <a:ea typeface="SBB Light"/>
            <a:cs typeface="SBB Light"/>
            <a:sym typeface="SBB Light"/>
          </a:endParaRP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 dirty="0">
              <a:latin typeface="SBB Light"/>
              <a:ea typeface="SBB Light"/>
              <a:cs typeface="SBB Light"/>
              <a:sym typeface="SBB Light"/>
            </a:rPr>
            <a:t>(K-SQ-QP)</a:t>
          </a:r>
          <a:endParaRPr lang="de-CH" sz="900" b="0" kern="1200" dirty="0">
            <a:latin typeface="SBB Light" pitchFamily="2" charset="0"/>
          </a:endParaRPr>
        </a:p>
      </dsp:txBody>
      <dsp:txXfrm>
        <a:off x="998080" y="2995514"/>
        <a:ext cx="1211977" cy="1222926"/>
      </dsp:txXfrm>
    </dsp:sp>
    <dsp:sp modelId="{8F0A2041-DAA7-44C4-B980-8E6EDF3F57E5}">
      <dsp:nvSpPr>
        <dsp:cNvPr id="0" name=""/>
        <dsp:cNvSpPr/>
      </dsp:nvSpPr>
      <dsp:spPr>
        <a:xfrm>
          <a:off x="1301074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12</a:t>
          </a:r>
        </a:p>
      </dsp:txBody>
      <dsp:txXfrm>
        <a:off x="1301074" y="4309013"/>
        <a:ext cx="681128" cy="285351"/>
      </dsp:txXfrm>
    </dsp:sp>
    <dsp:sp modelId="{8F3C0838-EAD2-4337-808B-2DCD768D9FE9}">
      <dsp:nvSpPr>
        <dsp:cNvPr id="0" name=""/>
        <dsp:cNvSpPr/>
      </dsp:nvSpPr>
      <dsp:spPr>
        <a:xfrm>
          <a:off x="2417012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Controllo 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scenari di safety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900" kern="1200" dirty="0">
            <a:latin typeface="SBB Light" pitchFamily="2" charset="0"/>
          </a:endParaRP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Jonathan Shaha</a:t>
          </a:r>
          <a:endParaRPr lang="de-CH" sz="900" kern="1200" dirty="0">
            <a:latin typeface="SBB Light" pitchFamily="2" charset="0"/>
          </a:endParaRP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(K-SQ-SI)</a:t>
          </a:r>
        </a:p>
      </dsp:txBody>
      <dsp:txXfrm>
        <a:off x="2417012" y="2995514"/>
        <a:ext cx="1211977" cy="1222926"/>
      </dsp:txXfrm>
    </dsp:sp>
    <dsp:sp modelId="{4E90235C-3906-45B2-81E2-69236A8E39C0}">
      <dsp:nvSpPr>
        <dsp:cNvPr id="0" name=""/>
        <dsp:cNvSpPr/>
      </dsp:nvSpPr>
      <dsp:spPr>
        <a:xfrm>
          <a:off x="2720007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13 a</a:t>
          </a:r>
        </a:p>
      </dsp:txBody>
      <dsp:txXfrm>
        <a:off x="2720007" y="4309013"/>
        <a:ext cx="681128" cy="285351"/>
      </dsp:txXfrm>
    </dsp:sp>
    <dsp:sp modelId="{B0AB5278-3EC8-4898-9375-770F4AA7E79E}">
      <dsp:nvSpPr>
        <dsp:cNvPr id="0" name=""/>
        <dsp:cNvSpPr/>
      </dsp:nvSpPr>
      <dsp:spPr>
        <a:xfrm>
          <a:off x="3835945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 dirty="0">
              <a:latin typeface="SBB Light"/>
              <a:ea typeface="SBB Light"/>
              <a:cs typeface="SBB Light"/>
              <a:sym typeface="SBB Light"/>
            </a:rPr>
            <a:t> </a:t>
          </a:r>
          <a:r>
            <a:rPr lang="it-IT" sz="900" b="1" kern="1200" dirty="0">
              <a:latin typeface="SBB Light"/>
              <a:ea typeface="SBB Light"/>
              <a:cs typeface="SBB Light"/>
              <a:sym typeface="SBB Light"/>
            </a:rPr>
            <a:t>Verifica </a:t>
          </a:r>
          <a:r>
            <a:rPr lang="it-IT" sz="900" b="1" kern="1200" dirty="0" smtClean="0">
              <a:latin typeface="SBB Light"/>
              <a:ea typeface="SBB Light"/>
              <a:cs typeface="SBB Light"/>
              <a:sym typeface="SBB Light"/>
            </a:rPr>
            <a:t>dell’efficacia </a:t>
          </a:r>
          <a:r>
            <a:rPr lang="it-IT" sz="900" b="1" kern="1200" dirty="0">
              <a:latin typeface="SBB Light"/>
              <a:ea typeface="SBB Light"/>
              <a:cs typeface="SBB Light"/>
              <a:sym typeface="SBB Light"/>
            </a:rPr>
            <a:t>di audit e controlli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900" kern="1200" dirty="0">
            <a:latin typeface="SBB Light" pitchFamily="2" charset="0"/>
          </a:endParaRP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 dirty="0">
              <a:latin typeface="SBB Light"/>
              <a:ea typeface="SBB Light"/>
              <a:cs typeface="SBB Light"/>
              <a:sym typeface="SBB Light"/>
            </a:rPr>
            <a:t>Esterni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 dirty="0">
              <a:latin typeface="SBB Light"/>
              <a:ea typeface="SBB Light"/>
              <a:cs typeface="SBB Light"/>
              <a:sym typeface="SBB Light"/>
            </a:rPr>
            <a:t>(K-</a:t>
          </a:r>
          <a:r>
            <a:rPr lang="it-IT" sz="900" kern="1200" dirty="0" err="1">
              <a:latin typeface="SBB Light"/>
              <a:ea typeface="SBB Light"/>
              <a:cs typeface="SBB Light"/>
              <a:sym typeface="SBB Light"/>
            </a:rPr>
            <a:t>SQ</a:t>
          </a:r>
          <a:r>
            <a:rPr lang="it-IT" sz="900" kern="1200" dirty="0">
              <a:latin typeface="SBB Light"/>
              <a:ea typeface="SBB Light"/>
              <a:cs typeface="SBB Light"/>
              <a:sym typeface="SBB Light"/>
            </a:rPr>
            <a:t>-</a:t>
          </a:r>
          <a:r>
            <a:rPr lang="it-IT" sz="900" kern="1200" dirty="0" err="1">
              <a:latin typeface="SBB Light"/>
              <a:ea typeface="SBB Light"/>
              <a:cs typeface="SBB Light"/>
              <a:sym typeface="SBB Light"/>
            </a:rPr>
            <a:t>QP</a:t>
          </a:r>
          <a:r>
            <a:rPr lang="it-IT" sz="900" kern="1200" dirty="0">
              <a:latin typeface="SBB Light"/>
              <a:ea typeface="SBB Light"/>
              <a:cs typeface="SBB Light"/>
              <a:sym typeface="SBB Light"/>
            </a:rPr>
            <a:t>)</a:t>
          </a:r>
        </a:p>
      </dsp:txBody>
      <dsp:txXfrm>
        <a:off x="3835945" y="2995514"/>
        <a:ext cx="1211977" cy="1222926"/>
      </dsp:txXfrm>
    </dsp:sp>
    <dsp:sp modelId="{6CE0EE06-402F-48FD-95E6-AEF5FF10BBD2}">
      <dsp:nvSpPr>
        <dsp:cNvPr id="0" name=""/>
        <dsp:cNvSpPr/>
      </dsp:nvSpPr>
      <dsp:spPr>
        <a:xfrm>
          <a:off x="4138940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13 b</a:t>
          </a:r>
        </a:p>
      </dsp:txBody>
      <dsp:txXfrm>
        <a:off x="4138940" y="4309013"/>
        <a:ext cx="681128" cy="285351"/>
      </dsp:txXfrm>
    </dsp:sp>
    <dsp:sp modelId="{6FDEB2FC-CC9A-4BCC-AD31-91C660A6F016}">
      <dsp:nvSpPr>
        <dsp:cNvPr id="0" name=""/>
        <dsp:cNvSpPr/>
      </dsp:nvSpPr>
      <dsp:spPr>
        <a:xfrm>
          <a:off x="5254878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Esame dei requisiti SMS, ECM a livello dirigenziale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de-CH" sz="900" b="1" kern="1200" dirty="0">
            <a:latin typeface="SBB Light" pitchFamily="2" charset="0"/>
          </a:endParaRP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Christina Brändli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(K-SQ-SI)</a:t>
          </a:r>
        </a:p>
      </dsp:txBody>
      <dsp:txXfrm>
        <a:off x="5254878" y="2995514"/>
        <a:ext cx="1211977" cy="1222926"/>
      </dsp:txXfrm>
    </dsp:sp>
    <dsp:sp modelId="{62FEDEBB-EA1B-4261-8C6A-66F124073364}">
      <dsp:nvSpPr>
        <dsp:cNvPr id="0" name=""/>
        <dsp:cNvSpPr/>
      </dsp:nvSpPr>
      <dsp:spPr>
        <a:xfrm>
          <a:off x="5565865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cap="none">
              <a:latin typeface="SBB Light"/>
              <a:ea typeface="SBB Light"/>
              <a:cs typeface="SBB Light"/>
              <a:sym typeface="SBB Light"/>
            </a:rPr>
            <a:t>15</a:t>
          </a:r>
        </a:p>
      </dsp:txBody>
      <dsp:txXfrm>
        <a:off x="5565865" y="4309013"/>
        <a:ext cx="681128" cy="285351"/>
      </dsp:txXfrm>
    </dsp:sp>
    <dsp:sp modelId="{0D29A56B-5629-4450-B419-49CCA9251D34}">
      <dsp:nvSpPr>
        <dsp:cNvPr id="0" name=""/>
        <dsp:cNvSpPr/>
      </dsp:nvSpPr>
      <dsp:spPr>
        <a:xfrm>
          <a:off x="6673811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it-IT" sz="900" b="1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Conclusioni sulla cultura della sicurezza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100" b="1" kern="1200" dirty="0">
            <a:latin typeface="SBB Light" pitchFamily="2" charset="0"/>
          </a:endParaRPr>
        </a:p>
        <a:p>
          <a:pPr marL="0"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it-IT" sz="90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Christina Brändli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90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(K-SQ-SI</a:t>
          </a:r>
          <a:r>
            <a:rPr lang="it-IT" sz="1100">
              <a:latin typeface="SBB Light"/>
              <a:ea typeface="SBB Light"/>
              <a:cs typeface="SBB Light"/>
              <a:sym typeface="SBB Light"/>
            </a:rPr>
            <a:t>)</a:t>
          </a:r>
        </a:p>
      </dsp:txBody>
      <dsp:txXfrm>
        <a:off x="6673811" y="2995514"/>
        <a:ext cx="1211977" cy="1222926"/>
      </dsp:txXfrm>
    </dsp:sp>
    <dsp:sp modelId="{92BAD177-2A04-4C8C-91C0-487BFF6C2E5A}">
      <dsp:nvSpPr>
        <dsp:cNvPr id="0" name=""/>
        <dsp:cNvSpPr/>
      </dsp:nvSpPr>
      <dsp:spPr>
        <a:xfrm>
          <a:off x="6881842" y="4309200"/>
          <a:ext cx="680399" cy="285913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100" b="1" kern="1200">
              <a:solidFill>
                <a:srgbClr val="FFFFFF"/>
              </a:solidFill>
              <a:latin typeface="SBB Light"/>
              <a:ea typeface="+mn-ea"/>
              <a:cs typeface="+mn-cs"/>
              <a:sym typeface="SBB Light"/>
            </a:rPr>
            <a:t>16</a:t>
          </a:r>
        </a:p>
      </dsp:txBody>
      <dsp:txXfrm>
        <a:off x="6881842" y="4309200"/>
        <a:ext cx="680399" cy="285913"/>
      </dsp:txXfrm>
    </dsp:sp>
    <dsp:sp modelId="{4430D1F1-4169-4541-9E38-94BB66275897}">
      <dsp:nvSpPr>
        <dsp:cNvPr id="0" name=""/>
        <dsp:cNvSpPr/>
      </dsp:nvSpPr>
      <dsp:spPr>
        <a:xfrm>
          <a:off x="1636629" y="1642930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Project Management Office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Axel Müller (K-UE-CSG)</a:t>
          </a:r>
          <a:endParaRPr lang="de-CH" sz="900" kern="1200" dirty="0">
            <a:latin typeface="SBB Light" pitchFamily="2" charset="0"/>
          </a:endParaRPr>
        </a:p>
      </dsp:txBody>
      <dsp:txXfrm>
        <a:off x="1636629" y="1642930"/>
        <a:ext cx="2007611" cy="438025"/>
      </dsp:txXfrm>
    </dsp:sp>
    <dsp:sp modelId="{4EF84C94-F6CA-484F-B52B-606432443C05}">
      <dsp:nvSpPr>
        <dsp:cNvPr id="0" name=""/>
        <dsp:cNvSpPr/>
      </dsp:nvSpPr>
      <dsp:spPr>
        <a:xfrm>
          <a:off x="5258036" y="1642930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Comunicazione 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Daniel Görig (KOM-IGK)</a:t>
          </a:r>
        </a:p>
      </dsp:txBody>
      <dsp:txXfrm>
        <a:off x="5258036" y="1642930"/>
        <a:ext cx="2007611" cy="438025"/>
      </dsp:txXfrm>
    </dsp:sp>
    <dsp:sp modelId="{7C636518-A830-4675-B1FC-16D96E0BE54F}">
      <dsp:nvSpPr>
        <dsp:cNvPr id="0" name=""/>
        <dsp:cNvSpPr/>
      </dsp:nvSpPr>
      <dsp:spPr>
        <a:xfrm>
          <a:off x="1066114" y="2309527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>
              <a:latin typeface="SBB Light"/>
              <a:ea typeface="SBB Light"/>
              <a:cs typeface="SBB Light"/>
              <a:sym typeface="SBB Light"/>
            </a:rPr>
            <a:t>Parti sociali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>
              <a:latin typeface="SBB Light"/>
              <a:ea typeface="SBB Light"/>
              <a:cs typeface="SBB Light"/>
              <a:sym typeface="SBB Light"/>
            </a:rPr>
            <a:t>Markus Heubi (HR-HBP-PP)</a:t>
          </a:r>
        </a:p>
      </dsp:txBody>
      <dsp:txXfrm>
        <a:off x="1066114" y="2309527"/>
        <a:ext cx="2007611" cy="438025"/>
      </dsp:txXfrm>
    </dsp:sp>
    <dsp:sp modelId="{81AD70D2-FA4A-4F67-AB41-4CAD174C56B9}">
      <dsp:nvSpPr>
        <dsp:cNvPr id="0" name=""/>
        <dsp:cNvSpPr/>
      </dsp:nvSpPr>
      <dsp:spPr>
        <a:xfrm>
          <a:off x="5728041" y="2309527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b="1" kern="1200" dirty="0">
              <a:latin typeface="SBB Light"/>
              <a:ea typeface="SBB Light"/>
              <a:cs typeface="SBB Light"/>
              <a:sym typeface="SBB Light"/>
            </a:rPr>
            <a:t>Finanze</a:t>
          </a:r>
        </a:p>
        <a:p>
          <a:pPr lvl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900" kern="1200" dirty="0" smtClean="0">
              <a:latin typeface="SBB Light"/>
              <a:ea typeface="SBB Light"/>
              <a:cs typeface="SBB Light"/>
              <a:sym typeface="SBB Light"/>
            </a:rPr>
            <a:t>Lukas Roth (F-CP-</a:t>
          </a:r>
          <a:r>
            <a:rPr lang="it-IT" sz="900" kern="1200" dirty="0" err="1" smtClean="0">
              <a:latin typeface="SBB Light"/>
              <a:ea typeface="SBB Light"/>
              <a:cs typeface="SBB Light"/>
              <a:sym typeface="SBB Light"/>
            </a:rPr>
            <a:t>FBP</a:t>
          </a:r>
          <a:r>
            <a:rPr lang="it-IT" sz="900" kern="1200" dirty="0" smtClean="0">
              <a:latin typeface="SBB Light"/>
              <a:ea typeface="SBB Light"/>
              <a:cs typeface="SBB Light"/>
              <a:sym typeface="SBB Light"/>
            </a:rPr>
            <a:t>)</a:t>
          </a:r>
          <a:endParaRPr lang="it-IT" sz="900" kern="1200" dirty="0">
            <a:latin typeface="SBB Light"/>
            <a:ea typeface="SBB Light"/>
            <a:cs typeface="SBB Light"/>
            <a:sym typeface="SBB Light"/>
          </a:endParaRPr>
        </a:p>
      </dsp:txBody>
      <dsp:txXfrm>
        <a:off x="5728041" y="2309527"/>
        <a:ext cx="2007611" cy="438025"/>
      </dsp:txXfrm>
    </dsp:sp>
    <dsp:sp modelId="{78712D13-2FDD-4E0D-BE09-5C65082C9FF8}">
      <dsp:nvSpPr>
        <dsp:cNvPr id="0" name=""/>
        <dsp:cNvSpPr/>
      </dsp:nvSpPr>
      <dsp:spPr>
        <a:xfrm>
          <a:off x="6199839" y="870739"/>
          <a:ext cx="2231999" cy="431998"/>
        </a:xfrm>
        <a:prstGeom prst="rect">
          <a:avLst/>
        </a:prstGeom>
        <a:solidFill>
          <a:schemeClr val="accent1">
            <a:hueOff val="0"/>
            <a:satOff val="0"/>
            <a:lumOff val="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900" b="1" kern="1200" cap="none">
              <a:latin typeface="SBB Light"/>
              <a:ea typeface="SBB Light"/>
              <a:cs typeface="SBB Light"/>
              <a:sym typeface="SBB Light"/>
            </a:rPr>
            <a:t>Challenging / sounding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900" b="0" kern="1200" cap="none">
              <a:latin typeface="SBB Light"/>
              <a:ea typeface="SBB Light"/>
              <a:cs typeface="SBB Light"/>
              <a:sym typeface="SBB Light"/>
            </a:rPr>
            <a:t>Urs Wälchli (K-UE) / Hans Vogt (K-UE)</a:t>
          </a:r>
        </a:p>
      </dsp:txBody>
      <dsp:txXfrm>
        <a:off x="6199839" y="870739"/>
        <a:ext cx="2231999" cy="4319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7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200"/>
            </a:lvl1pPr>
          </a:lstStyle>
          <a:p>
            <a:fld id="{CEE8B9A6-C914-49AD-A2CA-41A97059B7FA}" type="datetimeFigureOut">
              <a:rPr lang="de-CH" smtClean="0"/>
              <a:t>01.10.2019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7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200"/>
            </a:lvl1pPr>
          </a:lstStyle>
          <a:p>
            <a:fld id="{95AEAA86-B268-40B2-B963-AF8683B238E1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287423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7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200"/>
            </a:lvl1pPr>
          </a:lstStyle>
          <a:p>
            <a:fld id="{0D993726-DB4E-4E3B-B301-08615F64B677}" type="datetimeFigureOut">
              <a:rPr lang="de-CH" smtClean="0"/>
              <a:t>01.10.2019</a:t>
            </a:fld>
            <a:endParaRPr lang="de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0413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5" rIns="91409" bIns="45705" rtlCol="0" anchor="ctr"/>
          <a:lstStyle/>
          <a:p>
            <a:endParaRPr lang="de-CH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2" y="4343401"/>
            <a:ext cx="5486399" cy="4114800"/>
          </a:xfrm>
          <a:prstGeom prst="rect">
            <a:avLst/>
          </a:prstGeom>
        </p:spPr>
        <p:txBody>
          <a:bodyPr vert="horz" lIns="91409" tIns="45705" rIns="91409" bIns="4570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7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200"/>
            </a:lvl1pPr>
          </a:lstStyle>
          <a:p>
            <a:fld id="{9B2680A5-F847-49D3-81EF-336668894A9D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93862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title" hasCustomPrompt="1"/>
          </p:nvPr>
        </p:nvSpPr>
        <p:spPr>
          <a:xfrm>
            <a:off x="755650" y="4950000"/>
            <a:ext cx="8064500" cy="925200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9" name="Textplatzhalter 8" hidden="1"/>
          <p:cNvSpPr>
            <a:spLocks noGrp="1"/>
          </p:cNvSpPr>
          <p:nvPr>
            <p:ph type="body" sz="quarter" idx="10" hasCustomPrompt="1"/>
          </p:nvPr>
        </p:nvSpPr>
        <p:spPr>
          <a:xfrm>
            <a:off x="755649" y="6048000"/>
            <a:ext cx="8064000" cy="2448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CH"/>
              <a:t>Name Vortragender, Ort, Datum</a:t>
            </a:r>
          </a:p>
        </p:txBody>
      </p:sp>
      <p:pic>
        <p:nvPicPr>
          <p:cNvPr id="11" name="Logo_SBB_Cargo_D" hidden="1">
            <a:extLst>
              <a:ext uri="{FF2B5EF4-FFF2-40B4-BE49-F238E27FC236}">
                <a16:creationId xmlns:a16="http://schemas.microsoft.com/office/drawing/2014/main" id="{060E827C-F463-4945-83CA-C958F23E91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2" name="Logo_SBB_Cargo_H" hidden="1">
            <a:extLst>
              <a:ext uri="{FF2B5EF4-FFF2-40B4-BE49-F238E27FC236}">
                <a16:creationId xmlns:a16="http://schemas.microsoft.com/office/drawing/2014/main" id="{6152C017-189A-4281-8638-C780122EB9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3" name="Logo_SBB_CargoInt_D" hidden="1">
            <a:extLst>
              <a:ext uri="{FF2B5EF4-FFF2-40B4-BE49-F238E27FC236}">
                <a16:creationId xmlns:a16="http://schemas.microsoft.com/office/drawing/2014/main" id="{C17AC385-8280-4FF4-B703-53545E643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14" name="Logo_SBB_CargoInt_H" hidden="1">
            <a:extLst>
              <a:ext uri="{FF2B5EF4-FFF2-40B4-BE49-F238E27FC236}">
                <a16:creationId xmlns:a16="http://schemas.microsoft.com/office/drawing/2014/main" id="{19AB9434-6CEC-431C-B1E1-6A4FA9443B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15" name="Logo_SBB_Standard_D" hidden="1">
            <a:extLst>
              <a:ext uri="{FF2B5EF4-FFF2-40B4-BE49-F238E27FC236}">
                <a16:creationId xmlns:a16="http://schemas.microsoft.com/office/drawing/2014/main" id="{9277286A-37CB-413E-B86B-9EA6816684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16" name="Logo_SBB_Standard_H">
            <a:extLst>
              <a:ext uri="{FF2B5EF4-FFF2-40B4-BE49-F238E27FC236}">
                <a16:creationId xmlns:a16="http://schemas.microsoft.com/office/drawing/2014/main" id="{E4ACC2FE-02AA-452D-A388-10B37E60E45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606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7" name="Logo_SBB_Symbol">
            <a:extLst>
              <a:ext uri="{FF2B5EF4-FFF2-40B4-BE49-F238E27FC236}">
                <a16:creationId xmlns:a16="http://schemas.microsoft.com/office/drawing/2014/main" id="{024A6B32-828C-434C-8E8E-B5DB1B73A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456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möglich.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6A836F20-2B53-4317-A717-22BE4639A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03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88630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ts val="3100"/>
              </a:lnSpc>
              <a:defRPr sz="28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24" name="Logo_SBB_Cargo_D" hidden="1">
            <a:extLst>
              <a:ext uri="{FF2B5EF4-FFF2-40B4-BE49-F238E27FC236}">
                <a16:creationId xmlns:a16="http://schemas.microsoft.com/office/drawing/2014/main" id="{E4BAE742-5148-4807-B613-DDC51AF760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6" name="Logo_SBB_Cargo_H" hidden="1">
            <a:extLst>
              <a:ext uri="{FF2B5EF4-FFF2-40B4-BE49-F238E27FC236}">
                <a16:creationId xmlns:a16="http://schemas.microsoft.com/office/drawing/2014/main" id="{7CB63AF3-3C84-4F25-842F-2130CA39D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8" name="Logo_SBB_CargoInt_D" hidden="1">
            <a:extLst>
              <a:ext uri="{FF2B5EF4-FFF2-40B4-BE49-F238E27FC236}">
                <a16:creationId xmlns:a16="http://schemas.microsoft.com/office/drawing/2014/main" id="{188B11B6-FDB4-41D8-BE03-AE5961D98E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30" name="Logo_SBB_CargoInt_H" hidden="1">
            <a:extLst>
              <a:ext uri="{FF2B5EF4-FFF2-40B4-BE49-F238E27FC236}">
                <a16:creationId xmlns:a16="http://schemas.microsoft.com/office/drawing/2014/main" id="{E037D262-14C0-4D86-863E-DE02862C8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32" name="Logo_SBB_Standard_D" hidden="1">
            <a:extLst>
              <a:ext uri="{FF2B5EF4-FFF2-40B4-BE49-F238E27FC236}">
                <a16:creationId xmlns:a16="http://schemas.microsoft.com/office/drawing/2014/main" id="{011E80AA-D030-4314-A0FC-8C243DD447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34" name="Logo_SBB_Standard_H">
            <a:extLst>
              <a:ext uri="{FF2B5EF4-FFF2-40B4-BE49-F238E27FC236}">
                <a16:creationId xmlns:a16="http://schemas.microsoft.com/office/drawing/2014/main" id="{9FF4558D-2B5C-406F-AA11-4811B1E1E7D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543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title" hasCustomPrompt="1"/>
          </p:nvPr>
        </p:nvSpPr>
        <p:spPr>
          <a:xfrm>
            <a:off x="755650" y="4950000"/>
            <a:ext cx="8064500" cy="925200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9" name="Textplatzhalter 8" hidden="1"/>
          <p:cNvSpPr>
            <a:spLocks noGrp="1"/>
          </p:cNvSpPr>
          <p:nvPr>
            <p:ph type="body" sz="quarter" idx="10" hasCustomPrompt="1"/>
          </p:nvPr>
        </p:nvSpPr>
        <p:spPr>
          <a:xfrm>
            <a:off x="755649" y="6048000"/>
            <a:ext cx="8064000" cy="2448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CH"/>
              <a:t>Name Vortragender, Ort, Datum</a:t>
            </a:r>
          </a:p>
        </p:txBody>
      </p:sp>
      <p:pic>
        <p:nvPicPr>
          <p:cNvPr id="11" name="Logo_SBB_Cargo_D" hidden="1">
            <a:extLst>
              <a:ext uri="{FF2B5EF4-FFF2-40B4-BE49-F238E27FC236}">
                <a16:creationId xmlns:a16="http://schemas.microsoft.com/office/drawing/2014/main" id="{060E827C-F463-4945-83CA-C958F23E91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2" name="Logo_SBB_Cargo_H" hidden="1">
            <a:extLst>
              <a:ext uri="{FF2B5EF4-FFF2-40B4-BE49-F238E27FC236}">
                <a16:creationId xmlns:a16="http://schemas.microsoft.com/office/drawing/2014/main" id="{6152C017-189A-4281-8638-C780122EB9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3" name="Logo_SBB_CargoInt_D" hidden="1">
            <a:extLst>
              <a:ext uri="{FF2B5EF4-FFF2-40B4-BE49-F238E27FC236}">
                <a16:creationId xmlns:a16="http://schemas.microsoft.com/office/drawing/2014/main" id="{C17AC385-8280-4FF4-B703-53545E643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14" name="Logo_SBB_CargoInt_H" hidden="1">
            <a:extLst>
              <a:ext uri="{FF2B5EF4-FFF2-40B4-BE49-F238E27FC236}">
                <a16:creationId xmlns:a16="http://schemas.microsoft.com/office/drawing/2014/main" id="{19AB9434-6CEC-431C-B1E1-6A4FA9443B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15" name="Logo_SBB_Standard_D" hidden="1">
            <a:extLst>
              <a:ext uri="{FF2B5EF4-FFF2-40B4-BE49-F238E27FC236}">
                <a16:creationId xmlns:a16="http://schemas.microsoft.com/office/drawing/2014/main" id="{9277286A-37CB-413E-B86B-9EA6816684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16" name="Logo_SBB_Standard_H">
            <a:extLst>
              <a:ext uri="{FF2B5EF4-FFF2-40B4-BE49-F238E27FC236}">
                <a16:creationId xmlns:a16="http://schemas.microsoft.com/office/drawing/2014/main" id="{E4ACC2FE-02AA-452D-A388-10B37E60E45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8672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/>
            </a:lvl1pPr>
          </a:lstStyle>
          <a:p>
            <a:r>
              <a:rPr lang="de-CH" noProof="0"/>
              <a:t>Zweispaltige Tex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6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6A3A32B9-D1E5-4A20-BF50-DD87197E06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79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DE"/>
              <a:t>Objektfolie. </a:t>
            </a:r>
            <a:br>
              <a:rPr lang="de-DE"/>
            </a:br>
            <a:r>
              <a:rPr lang="de-DE"/>
              <a:t>Titel maximal zweizeilig.</a:t>
            </a:r>
            <a:endParaRPr lang="de-CH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1655999"/>
            <a:ext cx="8064500" cy="486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7C2F08AF-3B86-4045-AD8B-D4D94A3F8C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020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Objek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2451600"/>
            <a:ext cx="8064500" cy="35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5650" y="1656000"/>
            <a:ext cx="8064500" cy="720000"/>
          </a:xfrm>
        </p:spPr>
        <p:txBody>
          <a:bodyPr/>
          <a:lstStyle>
            <a:lvl1pPr marL="0" indent="0">
              <a:buNone/>
              <a:defRPr/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1151863" indent="0">
              <a:buNone/>
              <a:defRPr/>
            </a:lvl4pPr>
            <a:lvl5pPr marL="1512000" indent="0">
              <a:buNone/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16A07A45-94DA-45B0-92E1-B02062CAD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797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590400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55650" y="1656000"/>
            <a:ext cx="5040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1B1BBF65-2875-4E9A-8FD5-61A70DCF12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081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0" y="1656000"/>
            <a:ext cx="5472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A836C2B6-4E2E-4CBF-99E2-F1D7D3A307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0619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_SBB_Symbol">
            <a:extLst>
              <a:ext uri="{FF2B5EF4-FFF2-40B4-BE49-F238E27FC236}">
                <a16:creationId xmlns:a16="http://schemas.microsoft.com/office/drawing/2014/main" id="{9A807755-2956-4129-A43A-949F430744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048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/>
            </a:lvl1pPr>
          </a:lstStyle>
          <a:p>
            <a:r>
              <a:rPr lang="de-CH" noProof="0"/>
              <a:t>Zweispaltige Tex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6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6A3A32B9-D1E5-4A20-BF50-DD87197E06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9475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5 Zeilen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2BD53549-8FB0-403C-878B-36542C503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410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4F02B223-8FE0-4656-B8F5-08683F348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  <p:sp>
        <p:nvSpPr>
          <p:cNvPr id="9" name="Title">
            <a:extLst>
              <a:ext uri="{FF2B5EF4-FFF2-40B4-BE49-F238E27FC236}">
                <a16:creationId xmlns:a16="http://schemas.microsoft.com/office/drawing/2014/main" id="{FF901377-00B2-4CC5-91C7-D5A75DFD4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25524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</p:spTree>
    <p:extLst>
      <p:ext uri="{BB962C8B-B14F-4D97-AF65-F5344CB8AC3E}">
        <p14:creationId xmlns:p14="http://schemas.microsoft.com/office/powerpoint/2010/main" val="34700742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7" name="Logo_SBB_Symbol">
            <a:extLst>
              <a:ext uri="{FF2B5EF4-FFF2-40B4-BE49-F238E27FC236}">
                <a16:creationId xmlns:a16="http://schemas.microsoft.com/office/drawing/2014/main" id="{024A6B32-828C-434C-8E8E-B5DB1B73A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5292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möglich.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6A836F20-2B53-4317-A717-22BE4639A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8554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88630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ts val="3100"/>
              </a:lnSpc>
              <a:defRPr sz="28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24" name="Logo_SBB_Cargo_D" hidden="1">
            <a:extLst>
              <a:ext uri="{FF2B5EF4-FFF2-40B4-BE49-F238E27FC236}">
                <a16:creationId xmlns:a16="http://schemas.microsoft.com/office/drawing/2014/main" id="{E4BAE742-5148-4807-B613-DDC51AF760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6" name="Logo_SBB_Cargo_H" hidden="1">
            <a:extLst>
              <a:ext uri="{FF2B5EF4-FFF2-40B4-BE49-F238E27FC236}">
                <a16:creationId xmlns:a16="http://schemas.microsoft.com/office/drawing/2014/main" id="{7CB63AF3-3C84-4F25-842F-2130CA39D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8" name="Logo_SBB_CargoInt_D" hidden="1">
            <a:extLst>
              <a:ext uri="{FF2B5EF4-FFF2-40B4-BE49-F238E27FC236}">
                <a16:creationId xmlns:a16="http://schemas.microsoft.com/office/drawing/2014/main" id="{188B11B6-FDB4-41D8-BE03-AE5961D98E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30" name="Logo_SBB_CargoInt_H" hidden="1">
            <a:extLst>
              <a:ext uri="{FF2B5EF4-FFF2-40B4-BE49-F238E27FC236}">
                <a16:creationId xmlns:a16="http://schemas.microsoft.com/office/drawing/2014/main" id="{E037D262-14C0-4D86-863E-DE02862C8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32" name="Logo_SBB_Standard_D" hidden="1">
            <a:extLst>
              <a:ext uri="{FF2B5EF4-FFF2-40B4-BE49-F238E27FC236}">
                <a16:creationId xmlns:a16="http://schemas.microsoft.com/office/drawing/2014/main" id="{011E80AA-D030-4314-A0FC-8C243DD447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34" name="Logo_SBB_Standard_H">
            <a:extLst>
              <a:ext uri="{FF2B5EF4-FFF2-40B4-BE49-F238E27FC236}">
                <a16:creationId xmlns:a16="http://schemas.microsoft.com/office/drawing/2014/main" id="{9FF4558D-2B5C-406F-AA11-4811B1E1E7D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831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DE"/>
              <a:t>Objektfolie. </a:t>
            </a:r>
            <a:br>
              <a:rPr lang="de-DE"/>
            </a:br>
            <a:r>
              <a:rPr lang="de-DE"/>
              <a:t>Titel maximal zweizeilig.</a:t>
            </a:r>
            <a:endParaRPr lang="de-CH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1655999"/>
            <a:ext cx="8064500" cy="486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7C2F08AF-3B86-4045-AD8B-D4D94A3F8C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897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Objek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2451600"/>
            <a:ext cx="8064500" cy="35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5650" y="1656000"/>
            <a:ext cx="8064500" cy="720000"/>
          </a:xfrm>
        </p:spPr>
        <p:txBody>
          <a:bodyPr/>
          <a:lstStyle>
            <a:lvl1pPr marL="0" indent="0">
              <a:buNone/>
              <a:defRPr/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1151863" indent="0">
              <a:buNone/>
              <a:defRPr/>
            </a:lvl4pPr>
            <a:lvl5pPr marL="1512000" indent="0">
              <a:buNone/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16A07A45-94DA-45B0-92E1-B02062CAD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034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590400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55650" y="1656000"/>
            <a:ext cx="5040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1B1BBF65-2875-4E9A-8FD5-61A70DCF12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496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0" y="1656000"/>
            <a:ext cx="5472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A836C2B6-4E2E-4CBF-99E2-F1D7D3A307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6274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_SBB_Symbol">
            <a:extLst>
              <a:ext uri="{FF2B5EF4-FFF2-40B4-BE49-F238E27FC236}">
                <a16:creationId xmlns:a16="http://schemas.microsoft.com/office/drawing/2014/main" id="{9A807755-2956-4129-A43A-949F430744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473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5 Zeilen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2BD53549-8FB0-403C-878B-36542C503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730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4F02B223-8FE0-4656-B8F5-08683F348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  <p:sp>
        <p:nvSpPr>
          <p:cNvPr id="9" name="Title">
            <a:extLst>
              <a:ext uri="{FF2B5EF4-FFF2-40B4-BE49-F238E27FC236}">
                <a16:creationId xmlns:a16="http://schemas.microsoft.com/office/drawing/2014/main" id="{FF901377-00B2-4CC5-91C7-D5A75DFD4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25524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</p:spTree>
    <p:extLst>
      <p:ext uri="{BB962C8B-B14F-4D97-AF65-F5344CB8AC3E}">
        <p14:creationId xmlns:p14="http://schemas.microsoft.com/office/powerpoint/2010/main" val="1593818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55650" y="1656000"/>
            <a:ext cx="8064500" cy="4859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5236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685" r:id="rId9"/>
    <p:sldLayoutId id="2147483686" r:id="rId10"/>
    <p:sldLayoutId id="2147483687" r:id="rId11"/>
    <p:sldLayoutId id="2147483702" r:id="rId1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80000"/>
        <a:buFont typeface="Wingdings 3" pitchFamily="18" charset="2"/>
        <a:buChar char="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9750" indent="-252413" algn="l" defTabSz="914400" rtl="0" eaLnBrk="1" latinLnBrk="0" hangingPunct="1">
        <a:lnSpc>
          <a:spcPct val="100000"/>
        </a:lnSpc>
        <a:spcBef>
          <a:spcPts val="600"/>
        </a:spcBef>
        <a:buClr>
          <a:srgbClr val="000000"/>
        </a:buClr>
        <a:buSzPct val="80000"/>
        <a:buFont typeface="Arial" pitchFamily="34" charset="0"/>
        <a:buChar char="•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795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428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tabLst/>
        <a:defRPr lang="de-CH" sz="2000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6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52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24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55650" y="1656000"/>
            <a:ext cx="8064500" cy="4859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4069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80000"/>
        <a:buFont typeface="Wingdings 3" pitchFamily="18" charset="2"/>
        <a:buChar char="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9750" indent="-252413" algn="l" defTabSz="914400" rtl="0" eaLnBrk="1" latinLnBrk="0" hangingPunct="1">
        <a:lnSpc>
          <a:spcPct val="100000"/>
        </a:lnSpc>
        <a:spcBef>
          <a:spcPts val="600"/>
        </a:spcBef>
        <a:buClr>
          <a:srgbClr val="000000"/>
        </a:buClr>
        <a:buSzPct val="80000"/>
        <a:buFont typeface="Arial" pitchFamily="34" charset="0"/>
        <a:buChar char="•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795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428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tabLst/>
        <a:defRPr lang="de-CH" sz="2000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6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52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24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3.xml"/><Relationship Id="rId7" Type="http://schemas.openxmlformats.org/officeDocument/2006/relationships/diagramData" Target="../diagrams/data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3.xml"/><Relationship Id="rId9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tags" Target="../tags/tag5.xml"/><Relationship Id="rId7" Type="http://schemas.openxmlformats.org/officeDocument/2006/relationships/diagramQuickStyle" Target="../diagrams/quickStyle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8.emf"/><Relationship Id="rId5" Type="http://schemas.openxmlformats.org/officeDocument/2006/relationships/diagramData" Target="../diagrams/data2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Relationship Id="rId9" Type="http://schemas.microsoft.com/office/2007/relationships/diagramDrawing" Target="../diagrams/drawing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tags" Target="../tags/tag7.xml"/><Relationship Id="rId7" Type="http://schemas.openxmlformats.org/officeDocument/2006/relationships/diagramQuickStyle" Target="../diagrams/quickStyle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diagramLayout" Target="../diagrams/layout3.xml"/><Relationship Id="rId11" Type="http://schemas.openxmlformats.org/officeDocument/2006/relationships/image" Target="../media/image8.emf"/><Relationship Id="rId5" Type="http://schemas.openxmlformats.org/officeDocument/2006/relationships/diagramData" Target="../diagrams/data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microsoft.com/office/2007/relationships/diagramDrawing" Target="../diagrams/drawin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C1F408-39A6-4E12-AEDC-97D67FBEF8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hteck 113" hidden="1">
            <a:extLst>
              <a:ext uri="{FF2B5EF4-FFF2-40B4-BE49-F238E27FC236}">
                <a16:creationId xmlns:a16="http://schemas.microsoft.com/office/drawing/2014/main" id="{8E42E806-764F-4350-A7AD-40AAB3E86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itel 111">
            <a:extLst>
              <a:ext uri="{FF2B5EF4-FFF2-40B4-BE49-F238E27FC236}">
                <a16:creationId xmlns:a16="http://schemas.microsoft.com/office/drawing/2014/main" id="{A902E02C-F752-458F-8578-CCB85362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prstClr val="black"/>
                </a:solidFill>
                <a:latin typeface="SBB Light"/>
                <a:sym typeface="SBB Light"/>
              </a:rPr>
              <a:t/>
            </a:r>
            <a:br>
              <a:rPr lang="it-IT" dirty="0">
                <a:solidFill>
                  <a:prstClr val="black"/>
                </a:solidFill>
                <a:latin typeface="SBB Light"/>
                <a:sym typeface="SBB Light"/>
              </a:rPr>
            </a:br>
            <a:r>
              <a:rPr lang="it-IT" dirty="0">
                <a:solidFill>
                  <a:prstClr val="black"/>
                </a:solidFill>
                <a:latin typeface="SBB Light"/>
                <a:sym typeface="SBB Light"/>
              </a:rPr>
              <a:t>Struttura del programma </a:t>
            </a:r>
            <a:r>
              <a:rPr lang="it-IT" dirty="0" smtClean="0">
                <a:solidFill>
                  <a:prstClr val="black"/>
                </a:solidFill>
                <a:latin typeface="SBB Light"/>
                <a:sym typeface="SBB Light"/>
              </a:rPr>
              <a:t>«Sicuro!».</a:t>
            </a:r>
            <a:endParaRPr lang="de-CH" dirty="0">
              <a:latin typeface="SBB Light" pitchFamily="2" charset="0"/>
            </a:endParaRPr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CA5BA2EA-3A7A-4F78-B667-E059E5E870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0160138"/>
              </p:ext>
            </p:extLst>
          </p:nvPr>
        </p:nvGraphicFramePr>
        <p:xfrm>
          <a:off x="755649" y="1467943"/>
          <a:ext cx="7442419" cy="4838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BEBAC4C1-1E8D-4C0F-BA6C-2AEB19DE417C}"/>
              </a:ext>
            </a:extLst>
          </p:cNvPr>
          <p:cNvSpPr txBox="1">
            <a:spLocks/>
          </p:cNvSpPr>
          <p:nvPr/>
        </p:nvSpPr>
        <p:spPr>
          <a:xfrm>
            <a:off x="4571999" y="6689204"/>
            <a:ext cx="4319759" cy="1253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>
                <a:latin typeface="SBB Light"/>
                <a:sym typeface="SBB Light"/>
              </a:rPr>
              <a:t>FFS • Sicuro! • 26 settembre 2019</a:t>
            </a:r>
          </a:p>
        </p:txBody>
      </p:sp>
    </p:spTree>
    <p:extLst>
      <p:ext uri="{BB962C8B-B14F-4D97-AF65-F5344CB8AC3E}">
        <p14:creationId xmlns:p14="http://schemas.microsoft.com/office/powerpoint/2010/main" val="104194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7BD5B875-E6DC-4C97-B71C-12754F1C4301}"/>
              </a:ext>
            </a:extLst>
          </p:cNvPr>
          <p:cNvSpPr txBox="1"/>
          <p:nvPr/>
        </p:nvSpPr>
        <p:spPr>
          <a:xfrm>
            <a:off x="0" y="4318447"/>
            <a:ext cx="9144000" cy="21520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normAutofit/>
          </a:bodyPr>
          <a:lstStyle/>
          <a:p>
            <a:endParaRPr lang="de-CH" sz="2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CF0B773-1A5D-43A5-A467-C272A82357FE}"/>
              </a:ext>
            </a:extLst>
          </p:cNvPr>
          <p:cNvGrpSpPr/>
          <p:nvPr/>
        </p:nvGrpSpPr>
        <p:grpSpPr>
          <a:xfrm>
            <a:off x="55179" y="1529255"/>
            <a:ext cx="9009993" cy="5281448"/>
            <a:chOff x="189186" y="1292772"/>
            <a:chExt cx="8875986" cy="4619314"/>
          </a:xfrm>
        </p:grpSpPr>
        <p:graphicFrame>
          <p:nvGraphicFramePr>
            <p:cNvPr id="2" name="Diagramm 1">
              <a:extLst>
                <a:ext uri="{FF2B5EF4-FFF2-40B4-BE49-F238E27FC236}">
                  <a16:creationId xmlns:a16="http://schemas.microsoft.com/office/drawing/2014/main" id="{CA5BA2EA-3A7A-4F78-B667-E059E5E870A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65315475"/>
                </p:ext>
              </p:extLst>
            </p:nvPr>
          </p:nvGraphicFramePr>
          <p:xfrm>
            <a:off x="189186" y="1292772"/>
            <a:ext cx="8875986" cy="461931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353C1410-49FC-4C94-896E-B558C6620F02}"/>
                </a:ext>
              </a:extLst>
            </p:cNvPr>
            <p:cNvSpPr txBox="1"/>
            <p:nvPr/>
          </p:nvSpPr>
          <p:spPr>
            <a:xfrm>
              <a:off x="394138" y="5314037"/>
              <a:ext cx="1127234" cy="212852"/>
            </a:xfrm>
            <a:prstGeom prst="rect">
              <a:avLst/>
            </a:prstGeom>
            <a:solidFill>
              <a:srgbClr val="EB0000"/>
            </a:solidFill>
          </p:spPr>
          <p:txBody>
            <a:bodyPr wrap="square" lIns="36000" tIns="36000" rIns="36000" bIns="36000" rtlCol="0" anchor="ctr">
              <a:normAutofit/>
            </a:bodyPr>
            <a:lstStyle/>
            <a:p>
              <a:pPr algn="ctr"/>
              <a:r>
                <a:rPr lang="it-IT" sz="900">
                  <a:solidFill>
                    <a:schemeClr val="bg1"/>
                  </a:solidFill>
                  <a:latin typeface="SBB Light"/>
                  <a:cs typeface="Arial"/>
                  <a:sym typeface="Wingdings"/>
                </a:rPr>
                <a:t> </a:t>
              </a:r>
              <a:r>
                <a:rPr lang="it-IT" sz="900">
                  <a:solidFill>
                    <a:schemeClr val="bg1"/>
                  </a:solidFill>
                  <a:latin typeface="SBB Light"/>
                  <a:cs typeface="Arial"/>
                  <a:sym typeface="SBB Light"/>
                </a:rPr>
                <a:t>Pacchetti di lavoro</a:t>
              </a:r>
            </a:p>
          </p:txBody>
        </p:sp>
      </p:grp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C1F408-39A6-4E12-AEDC-97D67FBEF8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10" imgW="353" imgH="353" progId="TCLayout.ActiveDocument.1">
                  <p:embed/>
                </p:oleObj>
              </mc:Choice>
              <mc:Fallback>
                <p:oleObj name="think-cell Folie" r:id="rId10" imgW="353" imgH="353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hteck 113" hidden="1">
            <a:extLst>
              <a:ext uri="{FF2B5EF4-FFF2-40B4-BE49-F238E27FC236}">
                <a16:creationId xmlns:a16="http://schemas.microsoft.com/office/drawing/2014/main" id="{8E42E806-764F-4350-A7AD-40AAB3E86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itel 111">
            <a:extLst>
              <a:ext uri="{FF2B5EF4-FFF2-40B4-BE49-F238E27FC236}">
                <a16:creationId xmlns:a16="http://schemas.microsoft.com/office/drawing/2014/main" id="{A902E02C-F752-458F-8578-CCB85362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prstClr val="black"/>
                </a:solidFill>
                <a:latin typeface="SBB Light"/>
                <a:sym typeface="SBB Light"/>
              </a:rPr>
              <a:t/>
            </a:r>
            <a:br>
              <a:rPr lang="it-IT" dirty="0">
                <a:solidFill>
                  <a:prstClr val="black"/>
                </a:solidFill>
                <a:latin typeface="SBB Light"/>
                <a:sym typeface="SBB Light"/>
              </a:rPr>
            </a:br>
            <a:r>
              <a:rPr lang="it-IT" dirty="0">
                <a:solidFill>
                  <a:prstClr val="black"/>
                </a:solidFill>
                <a:latin typeface="SBB Light"/>
                <a:sym typeface="SBB Light"/>
              </a:rPr>
              <a:t>Modello di organizzazione e collaborazione </a:t>
            </a:r>
            <a:r>
              <a:rPr lang="it-IT" dirty="0" smtClean="0">
                <a:solidFill>
                  <a:prstClr val="black"/>
                </a:solidFill>
                <a:latin typeface="SBB Light"/>
                <a:sym typeface="SBB Light"/>
              </a:rPr>
              <a:t>«Sicuro</a:t>
            </a:r>
            <a:r>
              <a:rPr lang="it-IT" dirty="0">
                <a:solidFill>
                  <a:prstClr val="black"/>
                </a:solidFill>
                <a:latin typeface="SBB Light"/>
                <a:sym typeface="SBB Light"/>
              </a:rPr>
              <a:t>!» P-O.</a:t>
            </a:r>
            <a:endParaRPr lang="de-CH" dirty="0">
              <a:latin typeface="SBB Light" pitchFamily="2" charset="0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19C47A6-FB8C-4219-8D41-D3AE39D5F63B}"/>
              </a:ext>
            </a:extLst>
          </p:cNvPr>
          <p:cNvSpPr txBox="1">
            <a:spLocks/>
          </p:cNvSpPr>
          <p:nvPr/>
        </p:nvSpPr>
        <p:spPr>
          <a:xfrm>
            <a:off x="4571999" y="6689204"/>
            <a:ext cx="4319759" cy="1253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>
                <a:latin typeface="SBB Light"/>
                <a:sym typeface="SBB Light"/>
              </a:rPr>
              <a:t>FFS • Sicuro! • 26 settembre 2019</a:t>
            </a:r>
          </a:p>
        </p:txBody>
      </p:sp>
    </p:spTree>
    <p:extLst>
      <p:ext uri="{BB962C8B-B14F-4D97-AF65-F5344CB8AC3E}">
        <p14:creationId xmlns:p14="http://schemas.microsoft.com/office/powerpoint/2010/main" val="317014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7BD5B875-E6DC-4C97-B71C-12754F1C4301}"/>
              </a:ext>
            </a:extLst>
          </p:cNvPr>
          <p:cNvSpPr txBox="1"/>
          <p:nvPr/>
        </p:nvSpPr>
        <p:spPr>
          <a:xfrm>
            <a:off x="465085" y="4414347"/>
            <a:ext cx="8426674" cy="22544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normAutofit/>
          </a:bodyPr>
          <a:lstStyle/>
          <a:p>
            <a:endParaRPr lang="de-CH" sz="2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CF0B773-1A5D-43A5-A467-C272A82357FE}"/>
              </a:ext>
            </a:extLst>
          </p:cNvPr>
          <p:cNvGrpSpPr/>
          <p:nvPr/>
        </p:nvGrpSpPr>
        <p:grpSpPr>
          <a:xfrm>
            <a:off x="181303" y="1592330"/>
            <a:ext cx="8883869" cy="5376042"/>
            <a:chOff x="189186" y="1292772"/>
            <a:chExt cx="8875988" cy="4619315"/>
          </a:xfrm>
        </p:grpSpPr>
        <p:graphicFrame>
          <p:nvGraphicFramePr>
            <p:cNvPr id="2" name="Diagramm 1">
              <a:extLst>
                <a:ext uri="{FF2B5EF4-FFF2-40B4-BE49-F238E27FC236}">
                  <a16:creationId xmlns:a16="http://schemas.microsoft.com/office/drawing/2014/main" id="{CA5BA2EA-3A7A-4F78-B667-E059E5E870A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37424520"/>
                </p:ext>
              </p:extLst>
            </p:nvPr>
          </p:nvGraphicFramePr>
          <p:xfrm>
            <a:off x="189186" y="1292772"/>
            <a:ext cx="8875988" cy="461931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353C1410-49FC-4C94-896E-B558C6620F02}"/>
                </a:ext>
              </a:extLst>
            </p:cNvPr>
            <p:cNvSpPr txBox="1"/>
            <p:nvPr/>
          </p:nvSpPr>
          <p:spPr>
            <a:xfrm>
              <a:off x="834999" y="5367348"/>
              <a:ext cx="1078980" cy="212852"/>
            </a:xfrm>
            <a:prstGeom prst="rect">
              <a:avLst/>
            </a:prstGeom>
            <a:solidFill>
              <a:srgbClr val="EB0000"/>
            </a:solidFill>
          </p:spPr>
          <p:txBody>
            <a:bodyPr wrap="square" lIns="36000" tIns="36000" rIns="36000" bIns="36000" rtlCol="0" anchor="ctr">
              <a:normAutofit fontScale="92500"/>
            </a:bodyPr>
            <a:lstStyle/>
            <a:p>
              <a:pPr algn="ctr"/>
              <a:r>
                <a:rPr lang="it-IT" sz="900">
                  <a:solidFill>
                    <a:schemeClr val="bg1"/>
                  </a:solidFill>
                  <a:latin typeface="SBB Light"/>
                  <a:cs typeface="Arial"/>
                  <a:sym typeface="Wingdings"/>
                </a:rPr>
                <a:t> </a:t>
              </a:r>
              <a:r>
                <a:rPr lang="it-IT" sz="900">
                  <a:solidFill>
                    <a:schemeClr val="bg1"/>
                  </a:solidFill>
                  <a:latin typeface="SBB Light"/>
                  <a:cs typeface="Arial"/>
                  <a:sym typeface="SBB Light"/>
                </a:rPr>
                <a:t>Pacchetti di lavoro</a:t>
              </a:r>
            </a:p>
          </p:txBody>
        </p:sp>
      </p:grp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C1F408-39A6-4E12-AEDC-97D67FBEF8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Folie" r:id="rId10" imgW="353" imgH="353" progId="TCLayout.ActiveDocument.1">
                  <p:embed/>
                </p:oleObj>
              </mc:Choice>
              <mc:Fallback>
                <p:oleObj name="think-cell Folie" r:id="rId10" imgW="353" imgH="353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hteck 113" hidden="1">
            <a:extLst>
              <a:ext uri="{FF2B5EF4-FFF2-40B4-BE49-F238E27FC236}">
                <a16:creationId xmlns:a16="http://schemas.microsoft.com/office/drawing/2014/main" id="{8E42E806-764F-4350-A7AD-40AAB3E86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itel 111">
            <a:extLst>
              <a:ext uri="{FF2B5EF4-FFF2-40B4-BE49-F238E27FC236}">
                <a16:creationId xmlns:a16="http://schemas.microsoft.com/office/drawing/2014/main" id="{A902E02C-F752-458F-8578-CCB85362D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" y="318770"/>
            <a:ext cx="8236438" cy="738664"/>
          </a:xfrm>
        </p:spPr>
        <p:txBody>
          <a:bodyPr/>
          <a:lstStyle/>
          <a:p>
            <a:r>
              <a:rPr lang="it-IT" sz="2200" dirty="0">
                <a:solidFill>
                  <a:prstClr val="black"/>
                </a:solidFill>
                <a:latin typeface="SBB Light"/>
                <a:sym typeface="SBB Light"/>
              </a:rPr>
              <a:t>Modello di organizzazione e di collaborazione </a:t>
            </a:r>
            <a:r>
              <a:rPr lang="it-IT" sz="2200" dirty="0" smtClean="0">
                <a:solidFill>
                  <a:prstClr val="black"/>
                </a:solidFill>
                <a:latin typeface="SBB Light"/>
                <a:sym typeface="SBB Light"/>
              </a:rPr>
              <a:t>«Sicuro!» </a:t>
            </a:r>
            <a:r>
              <a:rPr lang="it-IT" sz="2200" dirty="0">
                <a:solidFill>
                  <a:prstClr val="black"/>
                </a:solidFill>
                <a:latin typeface="SBB Light"/>
                <a:sym typeface="SBB Light"/>
              </a:rPr>
              <a:t>Gruppo FFS.</a:t>
            </a:r>
            <a:endParaRPr lang="de-CH" sz="2200" dirty="0">
              <a:latin typeface="SBB Light" pitchFamily="2" charset="0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4F69ED51-D127-498A-AC88-5DAF677B3D11}"/>
              </a:ext>
            </a:extLst>
          </p:cNvPr>
          <p:cNvSpPr txBox="1">
            <a:spLocks/>
          </p:cNvSpPr>
          <p:nvPr/>
        </p:nvSpPr>
        <p:spPr>
          <a:xfrm>
            <a:off x="4571999" y="6689204"/>
            <a:ext cx="4319759" cy="1253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>
                <a:latin typeface="SBB Light"/>
                <a:sym typeface="SBB Light"/>
              </a:rPr>
              <a:t>FFS • Sicuro! • 26 settembre 2019</a:t>
            </a:r>
          </a:p>
        </p:txBody>
      </p:sp>
    </p:spTree>
    <p:extLst>
      <p:ext uri="{BB962C8B-B14F-4D97-AF65-F5344CB8AC3E}">
        <p14:creationId xmlns:p14="http://schemas.microsoft.com/office/powerpoint/2010/main" val="3779818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CDB3YDnafHIi2DoQ6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CDB3YDnafHIi2DoQ6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CDB3YDnafHIi2DoQ6cw"/>
</p:tagLst>
</file>

<file path=ppt/theme/theme1.xml><?xml version="1.0" encoding="utf-8"?>
<a:theme xmlns:a="http://schemas.openxmlformats.org/drawingml/2006/main" name="20170830_PPT-Vorlage_NEU_4-3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4-3_DE.potx" id="{5FE90F88-8C88-4F2F-AF71-94FD39BF845A}" vid="{EE670847-8B67-43F4-9160-663FE92AFDE3}"/>
    </a:ext>
  </a:extLst>
</a:theme>
</file>

<file path=ppt/theme/theme2.xml><?xml version="1.0" encoding="utf-8"?>
<a:theme xmlns:a="http://schemas.openxmlformats.org/drawingml/2006/main" name="1_20170830_PPT-Vorlage_NEU_4-3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4-3_DE.potx" id="{5FE90F88-8C88-4F2F-AF71-94FD39BF845A}" vid="{EE670847-8B67-43F4-9160-663FE92AFDE3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tns:customPropertyEditors xmlns:tns="http://schemas.microsoft.com/office/2006/customDocumentInformationPanel">
  <tns:showOnOpen>false</tns:showOnOpen>
  <tns:defaultPropertyEditorNamespace>Standard- und SharePoint-Bibliothekseigenschaften</tns:defaultPropertyEditorNamespace>
</tns:customPropertyEdito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74617FB0ED73447AF7303853B882B7E" ma:contentTypeVersion="10" ma:contentTypeDescription="Ein neues Dokument erstellen." ma:contentTypeScope="" ma:versionID="0630134642303a24d4bb6470b3358f87">
  <xsd:schema xmlns:xsd="http://www.w3.org/2001/XMLSchema" xmlns:xs="http://www.w3.org/2001/XMLSchema" xmlns:p="http://schemas.microsoft.com/office/2006/metadata/properties" xmlns:ns2="e668ce90-f158-4570-b9a2-2adf053a94c2" xmlns:ns3="e4c1ee6c-336c-486c-8945-a17a01fc30cb" targetNamespace="http://schemas.microsoft.com/office/2006/metadata/properties" ma:root="true" ma:fieldsID="9f67b5e50d92a280fececf3ea09d2ac8" ns2:_="" ns3:_="">
    <xsd:import namespace="e668ce90-f158-4570-b9a2-2adf053a94c2"/>
    <xsd:import namespace="e4c1ee6c-336c-486c-8945-a17a01fc30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68ce90-f158-4570-b9a2-2adf053a94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c1ee6c-336c-486c-8945-a17a01fc30c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4c1ee6c-336c-486c-8945-a17a01fc30cb">
      <UserInfo>
        <DisplayName>Hadorn Patrick (K-SQ)</DisplayName>
        <AccountId>178</AccountId>
        <AccountType/>
      </UserInfo>
      <UserInfo>
        <DisplayName>Desalmand Lips Francine (K-SQ)</DisplayName>
        <AccountId>182</AccountId>
        <AccountType/>
      </UserInfo>
      <UserInfo>
        <DisplayName>Sterchi Fritz (KOM-P)</DisplayName>
        <AccountId>181</AccountId>
        <AccountType/>
      </UserInfo>
      <UserInfo>
        <DisplayName>Göring Daniel (KOM-IGK-BER1)</DisplayName>
        <AccountId>184</AccountId>
        <AccountType/>
      </UserInfo>
      <UserInfo>
        <DisplayName>Plaschy Stephanie (P-O-STA-ID)</DisplayName>
        <AccountId>20</AccountId>
        <AccountType/>
      </UserInfo>
      <UserInfo>
        <DisplayName>Schärli Reto (KOM-IGK-NEW-MES)</DisplayName>
        <AccountId>185</AccountId>
        <AccountType/>
      </UserInfo>
      <UserInfo>
        <DisplayName>Lang Seraina (P-HR-FU)</DisplayName>
        <AccountId>186</AccountId>
        <AccountType/>
      </UserInfo>
      <UserInfo>
        <DisplayName>Müller Thomas (P-HR-BUP)</DisplayName>
        <AccountId>27</AccountId>
        <AccountType/>
      </UserInfo>
      <UserInfo>
        <DisplayName>Müller Axel Kurt Karl (K-UE-CSG-CT2)</DisplayName>
        <AccountId>187</AccountId>
        <AccountType/>
      </UserInfo>
      <UserInfo>
        <DisplayName>Novak Daniel (P-O-STA)</DisplayName>
        <AccountId>13</AccountId>
        <AccountType/>
      </UserInfo>
      <UserInfo>
        <DisplayName>Egloff Lukas (P-O-STA-FU)</DisplayName>
        <AccountId>41</AccountId>
        <AccountType/>
      </UserInfo>
      <UserInfo>
        <DisplayName>Egi Jeannine (KOM-P)</DisplayName>
        <AccountId>191</AccountId>
        <AccountType/>
      </UserInfo>
    </SharedWithUsers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26F925D-5B5E-4ED9-8F1A-0031942F8FB6}">
  <ds:schemaRefs>
    <ds:schemaRef ds:uri="http://schemas.microsoft.com/office/2006/customDocumentInformationPanel"/>
  </ds:schemaRefs>
</ds:datastoreItem>
</file>

<file path=customXml/itemProps2.xml><?xml version="1.0" encoding="utf-8"?>
<ds:datastoreItem xmlns:ds="http://schemas.openxmlformats.org/officeDocument/2006/customXml" ds:itemID="{B1B73175-0C0B-413F-A390-94D0B2E52BC0}"/>
</file>

<file path=customXml/itemProps3.xml><?xml version="1.0" encoding="utf-8"?>
<ds:datastoreItem xmlns:ds="http://schemas.openxmlformats.org/officeDocument/2006/customXml" ds:itemID="{4ABBA91C-7362-4181-84E0-BA62D80F712B}">
  <ds:schemaRefs>
    <ds:schemaRef ds:uri="http://schemas.microsoft.com/office/2006/metadata/properties"/>
    <ds:schemaRef ds:uri="http://schemas.microsoft.com/office/infopath/2007/PartnerControls"/>
    <ds:schemaRef ds:uri="c94c0e23-ffa0-4d90-990d-89fd5267ffc1"/>
  </ds:schemaRefs>
</ds:datastoreItem>
</file>

<file path=customXml/itemProps4.xml><?xml version="1.0" encoding="utf-8"?>
<ds:datastoreItem xmlns:ds="http://schemas.openxmlformats.org/officeDocument/2006/customXml" ds:itemID="{359BEED7-8530-49EC-8FA7-D53EA62EB678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49478669-F5C7-40B1-91DE-3FFEA2EC19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5</Words>
  <Application>Microsoft Office PowerPoint</Application>
  <PresentationFormat>Bildschirmpräsentation (4:3)</PresentationFormat>
  <Paragraphs>123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2" baseType="lpstr">
      <vt:lpstr>Wingdings</vt:lpstr>
      <vt:lpstr>SBB Light</vt:lpstr>
      <vt:lpstr>Wingdings 3</vt:lpstr>
      <vt:lpstr>Symbol</vt:lpstr>
      <vt:lpstr>Arial</vt:lpstr>
      <vt:lpstr>Calibri</vt:lpstr>
      <vt:lpstr>20170830_PPT-Vorlage_NEU_4-3</vt:lpstr>
      <vt:lpstr>1_20170830_PPT-Vorlage_NEU_4-3</vt:lpstr>
      <vt:lpstr>think-cell Folie</vt:lpstr>
      <vt:lpstr> Struttura del programma «Sicuro!».</vt:lpstr>
      <vt:lpstr> Modello di organizzazione e collaborazione «Sicuro!» P-O.</vt:lpstr>
      <vt:lpstr>Modello di organizzazione e di collaborazione «Sicuro!» Gruppo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CURO!</dc:title>
  <dc:creator>Egloff Lukas (P-O-STA-FU)</dc:creator>
  <cp:lastModifiedBy>Antonella Gugliotta Ventrice</cp:lastModifiedBy>
  <cp:revision>34</cp:revision>
  <cp:lastPrinted>2019-09-18T05:42:13Z</cp:lastPrinted>
  <dcterms:created xsi:type="dcterms:W3CDTF">2019-09-10T17:25:45Z</dcterms:created>
  <dcterms:modified xsi:type="dcterms:W3CDTF">2019-10-01T13:10:09Z</dcterms:modified>
  <cp:contentStatus>1;#In Arbeit|5da52893-878e-4f16-8c0f-6f1d371a87cc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617FB0ED73447AF7303853B882B7E</vt:lpwstr>
  </property>
  <property fmtid="{D5CDD505-2E9C-101B-9397-08002B2CF9AE}" pid="3" name="SBB">
    <vt:lpwstr>1</vt:lpwstr>
  </property>
  <property fmtid="{D5CDD505-2E9C-101B-9397-08002B2CF9AE}" pid="4" name="_dlc_DocIdItemGuid">
    <vt:lpwstr>5ac067c3-3e6d-4617-8011-6bbe9f54e87d</vt:lpwstr>
  </property>
  <property fmtid="{D5CDD505-2E9C-101B-9397-08002B2CF9AE}" pid="5" name="Confidentiality">
    <vt:lpwstr>2;#Intern|62a0be02-f36a-4921-b808-50c565cb6ae4</vt:lpwstr>
  </property>
  <property fmtid="{D5CDD505-2E9C-101B-9397-08002B2CF9AE}" pid="6" name="Status">
    <vt:lpwstr>1;#In Arbeit|5da52893-878e-4f16-8c0f-6f1d371a87cc</vt:lpwstr>
  </property>
  <property fmtid="{D5CDD505-2E9C-101B-9397-08002B2CF9AE}" pid="7" name="Keyword">
    <vt:lpwstr/>
  </property>
  <property fmtid="{D5CDD505-2E9C-101B-9397-08002B2CF9AE}" pid="8" name="Status_0">
    <vt:lpwstr>In Arbeit|5da52893-878e-4f16-8c0f-6f1d371a87cc</vt:lpwstr>
  </property>
  <property fmtid="{D5CDD505-2E9C-101B-9397-08002B2CF9AE}" pid="9" name="Confidentiality_0">
    <vt:lpwstr>Intern|62a0be02-f36a-4921-b808-50c565cb6ae4</vt:lpwstr>
  </property>
  <property fmtid="{D5CDD505-2E9C-101B-9397-08002B2CF9AE}" pid="10" name="DocumentOwner">
    <vt:lpwstr/>
  </property>
  <property fmtid="{D5CDD505-2E9C-101B-9397-08002B2CF9AE}" pid="11" name="AuthorisedAudience">
    <vt:lpwstr/>
  </property>
  <property fmtid="{D5CDD505-2E9C-101B-9397-08002B2CF9AE}" pid="12" name="Keyword_0">
    <vt:lpwstr/>
  </property>
  <property fmtid="{D5CDD505-2E9C-101B-9397-08002B2CF9AE}" pid="13" name="MP_InheritedTags">
    <vt:lpwstr/>
  </property>
  <property fmtid="{D5CDD505-2E9C-101B-9397-08002B2CF9AE}" pid="14" name="TmpStatus">
    <vt:lpwstr>Z6WYXUFPHNNU-1157923185-790</vt:lpwstr>
  </property>
  <property fmtid="{D5CDD505-2E9C-101B-9397-08002B2CF9AE}" pid="15" name="DateBDPTitle">
    <vt:lpwstr>10/26/2018 1:19:39 PM</vt:lpwstr>
  </property>
  <property fmtid="{D5CDD505-2E9C-101B-9397-08002B2CF9AE}" pid="16" name="ValueSHPTitle">
    <vt:lpwstr>SICURO! _x000b_</vt:lpwstr>
  </property>
  <property fmtid="{D5CDD505-2E9C-101B-9397-08002B2CF9AE}" pid="17" name="TmpVertraulichkeit">
    <vt:lpwstr/>
  </property>
  <property fmtid="{D5CDD505-2E9C-101B-9397-08002B2CF9AE}" pid="18" name="ValueBDPTitle">
    <vt:lpwstr>SICURO! _x000b_</vt:lpwstr>
  </property>
  <property fmtid="{D5CDD505-2E9C-101B-9397-08002B2CF9AE}" pid="19" name="DateSHPTitle">
    <vt:lpwstr>9/15/2019 9:09:51 PM</vt:lpwstr>
  </property>
</Properties>
</file>